
<file path=[Content_Types].xml><?xml version="1.0" encoding="utf-8"?>
<Types xmlns="http://schemas.openxmlformats.org/package/2006/content-types"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8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90" r:id="rId31"/>
    <p:sldId id="291" r:id="rId32"/>
    <p:sldId id="285" r:id="rId33"/>
    <p:sldId id="286" r:id="rId34"/>
    <p:sldId id="287" r:id="rId35"/>
    <p:sldId id="288" r:id="rId36"/>
    <p:sldId id="289" r:id="rId37"/>
  </p:sldIdLst>
  <p:sldSz cx="12192000" cy="6858000"/>
  <p:notesSz cx="12192000" cy="6858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411C9D-A5D1-F240-916B-910161F66682}" v="1" dt="2023-09-29T09:27:09.459"/>
    <p1510:client id="{A7DFBE04-BDEF-4306-8EC1-52D7CF2ECBCF}" v="3" dt="2023-09-29T09:32:06.36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ngve Sture" userId="944349f0-10b6-4077-b265-2bd72e418aa6" providerId="ADAL" clId="{A7DFBE04-BDEF-4306-8EC1-52D7CF2ECBCF}"/>
    <pc:docChg chg="modSld">
      <pc:chgData name="Yngve Sture" userId="944349f0-10b6-4077-b265-2bd72e418aa6" providerId="ADAL" clId="{A7DFBE04-BDEF-4306-8EC1-52D7CF2ECBCF}" dt="2023-09-29T09:32:06.360" v="2" actId="729"/>
      <pc:docMkLst>
        <pc:docMk/>
      </pc:docMkLst>
      <pc:sldChg chg="modNotesTx">
        <pc:chgData name="Yngve Sture" userId="944349f0-10b6-4077-b265-2bd72e418aa6" providerId="ADAL" clId="{A7DFBE04-BDEF-4306-8EC1-52D7CF2ECBCF}" dt="2023-09-29T09:31:27.659" v="0"/>
        <pc:sldMkLst>
          <pc:docMk/>
          <pc:sldMk cId="0" sldId="265"/>
        </pc:sldMkLst>
      </pc:sldChg>
      <pc:sldChg chg="mod modShow">
        <pc:chgData name="Yngve Sture" userId="944349f0-10b6-4077-b265-2bd72e418aa6" providerId="ADAL" clId="{A7DFBE04-BDEF-4306-8EC1-52D7CF2ECBCF}" dt="2023-09-29T09:32:03.585" v="1" actId="729"/>
        <pc:sldMkLst>
          <pc:docMk/>
          <pc:sldMk cId="0" sldId="285"/>
        </pc:sldMkLst>
      </pc:sldChg>
      <pc:sldChg chg="mod modShow">
        <pc:chgData name="Yngve Sture" userId="944349f0-10b6-4077-b265-2bd72e418aa6" providerId="ADAL" clId="{A7DFBE04-BDEF-4306-8EC1-52D7CF2ECBCF}" dt="2023-09-29T09:32:06.360" v="2" actId="729"/>
        <pc:sldMkLst>
          <pc:docMk/>
          <pc:sldMk cId="0" sldId="286"/>
        </pc:sldMkLst>
      </pc:sldChg>
    </pc:docChg>
  </pc:docChgLst>
  <pc:docChgLst>
    <pc:chgData name="Markus Skagemo" userId="b3c235b1-cd5b-427f-9c48-c185fca5c7ba" providerId="ADAL" clId="{9A411C9D-A5D1-F240-916B-910161F66682}"/>
    <pc:docChg chg="undo custSel addSld modSld sldOrd">
      <pc:chgData name="Markus Skagemo" userId="b3c235b1-cd5b-427f-9c48-c185fca5c7ba" providerId="ADAL" clId="{9A411C9D-A5D1-F240-916B-910161F66682}" dt="2023-09-29T09:27:09.446" v="84"/>
      <pc:docMkLst>
        <pc:docMk/>
      </pc:docMkLst>
      <pc:sldChg chg="delSp modSp mod">
        <pc:chgData name="Markus Skagemo" userId="b3c235b1-cd5b-427f-9c48-c185fca5c7ba" providerId="ADAL" clId="{9A411C9D-A5D1-F240-916B-910161F66682}" dt="2023-09-28T11:27:12.922" v="3" actId="478"/>
        <pc:sldMkLst>
          <pc:docMk/>
          <pc:sldMk cId="0" sldId="268"/>
        </pc:sldMkLst>
        <pc:spChg chg="del">
          <ac:chgData name="Markus Skagemo" userId="b3c235b1-cd5b-427f-9c48-c185fca5c7ba" providerId="ADAL" clId="{9A411C9D-A5D1-F240-916B-910161F66682}" dt="2023-09-28T11:27:07.579" v="1" actId="478"/>
          <ac:spMkLst>
            <pc:docMk/>
            <pc:sldMk cId="0" sldId="268"/>
            <ac:spMk id="17" creationId="{00000000-0000-0000-0000-000000000000}"/>
          </ac:spMkLst>
        </pc:spChg>
        <pc:spChg chg="del mod">
          <ac:chgData name="Markus Skagemo" userId="b3c235b1-cd5b-427f-9c48-c185fca5c7ba" providerId="ADAL" clId="{9A411C9D-A5D1-F240-916B-910161F66682}" dt="2023-09-28T11:27:12.922" v="3" actId="478"/>
          <ac:spMkLst>
            <pc:docMk/>
            <pc:sldMk cId="0" sldId="268"/>
            <ac:spMk id="18" creationId="{00000000-0000-0000-0000-000000000000}"/>
          </ac:spMkLst>
        </pc:spChg>
      </pc:sldChg>
      <pc:sldChg chg="delSp mod">
        <pc:chgData name="Markus Skagemo" userId="b3c235b1-cd5b-427f-9c48-c185fca5c7ba" providerId="ADAL" clId="{9A411C9D-A5D1-F240-916B-910161F66682}" dt="2023-09-28T11:31:40.583" v="5" actId="478"/>
        <pc:sldMkLst>
          <pc:docMk/>
          <pc:sldMk cId="0" sldId="269"/>
        </pc:sldMkLst>
        <pc:spChg chg="del">
          <ac:chgData name="Markus Skagemo" userId="b3c235b1-cd5b-427f-9c48-c185fca5c7ba" providerId="ADAL" clId="{9A411C9D-A5D1-F240-916B-910161F66682}" dt="2023-09-28T11:31:38.350" v="4" actId="478"/>
          <ac:spMkLst>
            <pc:docMk/>
            <pc:sldMk cId="0" sldId="269"/>
            <ac:spMk id="6" creationId="{00000000-0000-0000-0000-000000000000}"/>
          </ac:spMkLst>
        </pc:spChg>
        <pc:spChg chg="del">
          <ac:chgData name="Markus Skagemo" userId="b3c235b1-cd5b-427f-9c48-c185fca5c7ba" providerId="ADAL" clId="{9A411C9D-A5D1-F240-916B-910161F66682}" dt="2023-09-28T11:31:40.583" v="5" actId="478"/>
          <ac:spMkLst>
            <pc:docMk/>
            <pc:sldMk cId="0" sldId="269"/>
            <ac:spMk id="7" creationId="{00000000-0000-0000-0000-000000000000}"/>
          </ac:spMkLst>
        </pc:spChg>
      </pc:sldChg>
      <pc:sldChg chg="delSp modSp mod">
        <pc:chgData name="Markus Skagemo" userId="b3c235b1-cd5b-427f-9c48-c185fca5c7ba" providerId="ADAL" clId="{9A411C9D-A5D1-F240-916B-910161F66682}" dt="2023-09-28T12:52:51.752" v="46" actId="20577"/>
        <pc:sldMkLst>
          <pc:docMk/>
          <pc:sldMk cId="0" sldId="270"/>
        </pc:sldMkLst>
        <pc:spChg chg="mod">
          <ac:chgData name="Markus Skagemo" userId="b3c235b1-cd5b-427f-9c48-c185fca5c7ba" providerId="ADAL" clId="{9A411C9D-A5D1-F240-916B-910161F66682}" dt="2023-09-28T11:34:20.213" v="9" actId="20577"/>
          <ac:spMkLst>
            <pc:docMk/>
            <pc:sldMk cId="0" sldId="270"/>
            <ac:spMk id="2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1:44:07.852" v="12" actId="20577"/>
          <ac:spMkLst>
            <pc:docMk/>
            <pc:sldMk cId="0" sldId="270"/>
            <ac:spMk id="4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1:48:23.801" v="26" actId="20577"/>
          <ac:spMkLst>
            <pc:docMk/>
            <pc:sldMk cId="0" sldId="270"/>
            <ac:spMk id="6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2:12:49.454" v="42" actId="20577"/>
          <ac:spMkLst>
            <pc:docMk/>
            <pc:sldMk cId="0" sldId="270"/>
            <ac:spMk id="15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2:52:51.752" v="46" actId="20577"/>
          <ac:spMkLst>
            <pc:docMk/>
            <pc:sldMk cId="0" sldId="270"/>
            <ac:spMk id="16" creationId="{00000000-0000-0000-0000-000000000000}"/>
          </ac:spMkLst>
        </pc:spChg>
        <pc:spChg chg="del mod">
          <ac:chgData name="Markus Skagemo" userId="b3c235b1-cd5b-427f-9c48-c185fca5c7ba" providerId="ADAL" clId="{9A411C9D-A5D1-F240-916B-910161F66682}" dt="2023-09-28T11:48:15.224" v="22" actId="478"/>
          <ac:spMkLst>
            <pc:docMk/>
            <pc:sldMk cId="0" sldId="270"/>
            <ac:spMk id="30" creationId="{00000000-0000-0000-0000-000000000000}"/>
          </ac:spMkLst>
        </pc:spChg>
        <pc:spChg chg="del mod">
          <ac:chgData name="Markus Skagemo" userId="b3c235b1-cd5b-427f-9c48-c185fca5c7ba" providerId="ADAL" clId="{9A411C9D-A5D1-F240-916B-910161F66682}" dt="2023-09-28T11:48:15.224" v="22" actId="478"/>
          <ac:spMkLst>
            <pc:docMk/>
            <pc:sldMk cId="0" sldId="270"/>
            <ac:spMk id="31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3:51:04.196" v="62" actId="20577"/>
        <pc:sldMkLst>
          <pc:docMk/>
          <pc:sldMk cId="0" sldId="271"/>
        </pc:sldMkLst>
        <pc:spChg chg="mod">
          <ac:chgData name="Markus Skagemo" userId="b3c235b1-cd5b-427f-9c48-c185fca5c7ba" providerId="ADAL" clId="{9A411C9D-A5D1-F240-916B-910161F66682}" dt="2023-09-28T11:44:52.228" v="20" actId="20577"/>
          <ac:spMkLst>
            <pc:docMk/>
            <pc:sldMk cId="0" sldId="271"/>
            <ac:spMk id="6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3:51:04.196" v="62" actId="20577"/>
          <ac:spMkLst>
            <pc:docMk/>
            <pc:sldMk cId="0" sldId="271"/>
            <ac:spMk id="26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1:50:55.427" v="28" actId="20577"/>
          <ac:spMkLst>
            <pc:docMk/>
            <pc:sldMk cId="0" sldId="271"/>
            <ac:spMk id="29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7:21:06.575" v="68" actId="20577"/>
        <pc:sldMkLst>
          <pc:docMk/>
          <pc:sldMk cId="0" sldId="273"/>
        </pc:sldMkLst>
        <pc:graphicFrameChg chg="modGraphic">
          <ac:chgData name="Markus Skagemo" userId="b3c235b1-cd5b-427f-9c48-c185fca5c7ba" providerId="ADAL" clId="{9A411C9D-A5D1-F240-916B-910161F66682}" dt="2023-09-28T17:21:06.575" v="68" actId="20577"/>
          <ac:graphicFrameMkLst>
            <pc:docMk/>
            <pc:sldMk cId="0" sldId="273"/>
            <ac:graphicFrameMk id="3" creationId="{00000000-0000-0000-0000-000000000000}"/>
          </ac:graphicFrameMkLst>
        </pc:graphicFrameChg>
      </pc:sldChg>
      <pc:sldChg chg="modSp mod">
        <pc:chgData name="Markus Skagemo" userId="b3c235b1-cd5b-427f-9c48-c185fca5c7ba" providerId="ADAL" clId="{9A411C9D-A5D1-F240-916B-910161F66682}" dt="2023-09-28T12:04:19.087" v="34" actId="20577"/>
        <pc:sldMkLst>
          <pc:docMk/>
          <pc:sldMk cId="0" sldId="274"/>
        </pc:sldMkLst>
        <pc:spChg chg="mod">
          <ac:chgData name="Markus Skagemo" userId="b3c235b1-cd5b-427f-9c48-c185fca5c7ba" providerId="ADAL" clId="{9A411C9D-A5D1-F240-916B-910161F66682}" dt="2023-09-28T12:04:19.087" v="34" actId="20577"/>
          <ac:spMkLst>
            <pc:docMk/>
            <pc:sldMk cId="0" sldId="274"/>
            <ac:spMk id="2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7:31:44.305" v="75" actId="20577"/>
        <pc:sldMkLst>
          <pc:docMk/>
          <pc:sldMk cId="0" sldId="275"/>
        </pc:sldMkLst>
        <pc:spChg chg="mod">
          <ac:chgData name="Markus Skagemo" userId="b3c235b1-cd5b-427f-9c48-c185fca5c7ba" providerId="ADAL" clId="{9A411C9D-A5D1-F240-916B-910161F66682}" dt="2023-09-28T17:30:44.738" v="74" actId="20577"/>
          <ac:spMkLst>
            <pc:docMk/>
            <pc:sldMk cId="0" sldId="275"/>
            <ac:spMk id="2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7:31:44.305" v="75" actId="20577"/>
          <ac:spMkLst>
            <pc:docMk/>
            <pc:sldMk cId="0" sldId="275"/>
            <ac:spMk id="23" creationId="{00000000-0000-0000-0000-000000000000}"/>
          </ac:spMkLst>
        </pc:spChg>
      </pc:sldChg>
      <pc:sldChg chg="modSp mod modShow">
        <pc:chgData name="Markus Skagemo" userId="b3c235b1-cd5b-427f-9c48-c185fca5c7ba" providerId="ADAL" clId="{9A411C9D-A5D1-F240-916B-910161F66682}" dt="2023-09-29T09:17:24.333" v="82" actId="729"/>
        <pc:sldMkLst>
          <pc:docMk/>
          <pc:sldMk cId="0" sldId="276"/>
        </pc:sldMkLst>
        <pc:spChg chg="mod">
          <ac:chgData name="Markus Skagemo" userId="b3c235b1-cd5b-427f-9c48-c185fca5c7ba" providerId="ADAL" clId="{9A411C9D-A5D1-F240-916B-910161F66682}" dt="2023-09-28T17:50:12.417" v="76" actId="20577"/>
          <ac:spMkLst>
            <pc:docMk/>
            <pc:sldMk cId="0" sldId="276"/>
            <ac:spMk id="23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8:04:30.277" v="79" actId="20577"/>
        <pc:sldMkLst>
          <pc:docMk/>
          <pc:sldMk cId="0" sldId="278"/>
        </pc:sldMkLst>
        <pc:spChg chg="mod">
          <ac:chgData name="Markus Skagemo" userId="b3c235b1-cd5b-427f-9c48-c185fca5c7ba" providerId="ADAL" clId="{9A411C9D-A5D1-F240-916B-910161F66682}" dt="2023-09-28T18:04:30.277" v="79" actId="20577"/>
          <ac:spMkLst>
            <pc:docMk/>
            <pc:sldMk cId="0" sldId="278"/>
            <ac:spMk id="6" creationId="{00000000-0000-0000-0000-000000000000}"/>
          </ac:spMkLst>
        </pc:spChg>
        <pc:spChg chg="mod">
          <ac:chgData name="Markus Skagemo" userId="b3c235b1-cd5b-427f-9c48-c185fca5c7ba" providerId="ADAL" clId="{9A411C9D-A5D1-F240-916B-910161F66682}" dt="2023-09-28T12:03:53.659" v="29" actId="20577"/>
          <ac:spMkLst>
            <pc:docMk/>
            <pc:sldMk cId="0" sldId="278"/>
            <ac:spMk id="10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8:05:35.119" v="81" actId="14100"/>
        <pc:sldMkLst>
          <pc:docMk/>
          <pc:sldMk cId="0" sldId="279"/>
        </pc:sldMkLst>
        <pc:spChg chg="mod">
          <ac:chgData name="Markus Skagemo" userId="b3c235b1-cd5b-427f-9c48-c185fca5c7ba" providerId="ADAL" clId="{9A411C9D-A5D1-F240-916B-910161F66682}" dt="2023-09-28T18:05:35.119" v="81" actId="14100"/>
          <ac:spMkLst>
            <pc:docMk/>
            <pc:sldMk cId="0" sldId="279"/>
            <ac:spMk id="95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2:57:16.585" v="50" actId="20577"/>
        <pc:sldMkLst>
          <pc:docMk/>
          <pc:sldMk cId="0" sldId="282"/>
        </pc:sldMkLst>
        <pc:spChg chg="mod">
          <ac:chgData name="Markus Skagemo" userId="b3c235b1-cd5b-427f-9c48-c185fca5c7ba" providerId="ADAL" clId="{9A411C9D-A5D1-F240-916B-910161F66682}" dt="2023-09-28T12:57:16.585" v="50" actId="20577"/>
          <ac:spMkLst>
            <pc:docMk/>
            <pc:sldMk cId="0" sldId="282"/>
            <ac:spMk id="31" creationId="{00000000-0000-0000-0000-000000000000}"/>
          </ac:spMkLst>
        </pc:spChg>
      </pc:sldChg>
      <pc:sldChg chg="modSp mod">
        <pc:chgData name="Markus Skagemo" userId="b3c235b1-cd5b-427f-9c48-c185fca5c7ba" providerId="ADAL" clId="{9A411C9D-A5D1-F240-916B-910161F66682}" dt="2023-09-28T12:57:55.524" v="60" actId="14100"/>
        <pc:sldMkLst>
          <pc:docMk/>
          <pc:sldMk cId="0" sldId="284"/>
        </pc:sldMkLst>
        <pc:spChg chg="mod">
          <ac:chgData name="Markus Skagemo" userId="b3c235b1-cd5b-427f-9c48-c185fca5c7ba" providerId="ADAL" clId="{9A411C9D-A5D1-F240-916B-910161F66682}" dt="2023-09-28T12:57:55.524" v="60" actId="14100"/>
          <ac:spMkLst>
            <pc:docMk/>
            <pc:sldMk cId="0" sldId="284"/>
            <ac:spMk id="3" creationId="{00000000-0000-0000-0000-000000000000}"/>
          </ac:spMkLst>
        </pc:spChg>
      </pc:sldChg>
      <pc:sldChg chg="ord">
        <pc:chgData name="Markus Skagemo" userId="b3c235b1-cd5b-427f-9c48-c185fca5c7ba" providerId="ADAL" clId="{9A411C9D-A5D1-F240-916B-910161F66682}" dt="2023-09-29T09:25:26.826" v="83" actId="20578"/>
        <pc:sldMkLst>
          <pc:docMk/>
          <pc:sldMk cId="0" sldId="290"/>
        </pc:sldMkLst>
      </pc:sldChg>
      <pc:sldChg chg="add">
        <pc:chgData name="Markus Skagemo" userId="b3c235b1-cd5b-427f-9c48-c185fca5c7ba" providerId="ADAL" clId="{9A411C9D-A5D1-F240-916B-910161F66682}" dt="2023-09-29T09:27:09.446" v="84"/>
        <pc:sldMkLst>
          <pc:docMk/>
          <pc:sldMk cId="2562554596" sldId="29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48E2B2-2214-4C20-A254-12757281B0CC}" type="datetimeFigureOut">
              <a:rPr lang="en-US" smtClean="0"/>
              <a:t>9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0B27E7-8230-4C54-AAC0-0BF14B8702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ase 1</a:t>
            </a:r>
          </a:p>
          <a:p>
            <a:endParaRPr lang="nb-NO"/>
          </a:p>
          <a:p>
            <a:r>
              <a:rPr lang="nb-NO"/>
              <a:t>1 – Value: Already given. Increase revenue by 10% within 3 years.</a:t>
            </a:r>
          </a:p>
          <a:p>
            <a:r>
              <a:rPr lang="nb-NO"/>
              <a:t>2 – Action: </a:t>
            </a:r>
            <a:r>
              <a:rPr lang="nb-NO" b="1"/>
              <a:t>Marketing</a:t>
            </a:r>
            <a:r>
              <a:rPr lang="nb-NO"/>
              <a:t>. Could market as secure or cheap if that is true compared to competitors. </a:t>
            </a:r>
            <a:r>
              <a:rPr lang="nb-NO" b="1"/>
              <a:t>Change composition of products</a:t>
            </a:r>
            <a:r>
              <a:rPr lang="nb-NO" b="0"/>
              <a:t>. If price is an important driver, could make sense to find cost drivers for products, and then cut cost and subsequently cut price.</a:t>
            </a:r>
            <a:endParaRPr lang="nb-NO"/>
          </a:p>
          <a:p>
            <a:r>
              <a:rPr lang="nb-NO"/>
              <a:t>3 – Insight: </a:t>
            </a:r>
            <a:r>
              <a:rPr lang="nb-NO" b="1"/>
              <a:t>Marketing:</a:t>
            </a:r>
            <a:r>
              <a:rPr lang="nb-NO" b="0"/>
              <a:t> How secure is our product? SLA (service-level agreement)? How secure are our competitor’s products? What makes customers believe cloud computing is unsafe? </a:t>
            </a:r>
            <a:r>
              <a:rPr lang="nb-NO" b="1"/>
              <a:t>Composition of products: </a:t>
            </a:r>
            <a:r>
              <a:rPr lang="nb-NO" b="0"/>
              <a:t>Cost drivers? Price of competitors?</a:t>
            </a:r>
            <a:endParaRPr lang="nb-NO"/>
          </a:p>
          <a:p>
            <a:r>
              <a:rPr lang="nb-NO"/>
              <a:t>4 – Analyses: Machine learning? Simple analysis? Quantitative or qualitative data?</a:t>
            </a:r>
          </a:p>
          <a:p>
            <a:r>
              <a:rPr lang="nb-NO"/>
              <a:t>5 – Data: Internal data (price, cost, SLA/security). External data (competitors).</a:t>
            </a:r>
          </a:p>
          <a:p>
            <a:endParaRPr lang="en-US"/>
          </a:p>
          <a:p>
            <a:r>
              <a:rPr lang="en-US"/>
              <a:t>Case 2</a:t>
            </a:r>
          </a:p>
          <a:p>
            <a:r>
              <a:rPr lang="nb-NO"/>
              <a:t>1 – Value: Already given. </a:t>
            </a:r>
            <a:r>
              <a:rPr lang="en-US"/>
              <a:t>Increase market share from 10% to 15% within 2 years.</a:t>
            </a:r>
          </a:p>
          <a:p>
            <a:r>
              <a:rPr lang="nb-NO"/>
              <a:t>2 – Action: </a:t>
            </a:r>
            <a:r>
              <a:rPr lang="nb-NO" b="1"/>
              <a:t>Retention of customers</a:t>
            </a:r>
            <a:r>
              <a:rPr lang="nb-NO"/>
              <a:t>. Take proactive actions to customers we think will leave the company for a competitor. </a:t>
            </a:r>
            <a:r>
              <a:rPr lang="nb-NO" b="1"/>
              <a:t>Gain new customers</a:t>
            </a:r>
            <a:r>
              <a:rPr lang="nb-NO" b="0"/>
              <a:t>. More targeted marketing, spend less time and money on trying to gain customers with very low probability of becoming a customer. Spend more time on the valuable custom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3 – Insight: </a:t>
            </a:r>
            <a:r>
              <a:rPr lang="nb-NO" b="1"/>
              <a:t>Retention:</a:t>
            </a:r>
            <a:r>
              <a:rPr lang="nb-NO" b="0"/>
              <a:t> What do happy customers have in common? What does customers who leave us have in common? </a:t>
            </a:r>
            <a:r>
              <a:rPr lang="nb-NO" b="1"/>
              <a:t>Gain new customers: </a:t>
            </a:r>
            <a:r>
              <a:rPr lang="nb-NO" b="0"/>
              <a:t>What do customers who join us have in common? What is most important for choosing telecommunications provider for customers in different segments?</a:t>
            </a:r>
          </a:p>
          <a:p>
            <a:r>
              <a:rPr lang="nb-NO"/>
              <a:t>4 – Analyses: Machine learning? Simple analysis? Quantitative or qualitative data?</a:t>
            </a:r>
          </a:p>
          <a:p>
            <a:r>
              <a:rPr lang="nb-NO"/>
              <a:t>5 – Data: Internal data (customer behavior). External data (competitors)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B27E7-8230-4C54-AAC0-0BF14B8702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347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1999" cy="68579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11187" y="1851660"/>
            <a:ext cx="10969625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C03A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64646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C03A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1999" cy="68579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C03A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187" y="115315"/>
            <a:ext cx="10969625" cy="7600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6C03A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34046" y="2540509"/>
            <a:ext cx="10323906" cy="19735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rgbClr val="64646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000750" y="6462149"/>
            <a:ext cx="190500" cy="165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BFBFB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‹#›</a:t>
            </a:fld>
            <a:endParaRPr spc="-2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13" Type="http://schemas.openxmlformats.org/officeDocument/2006/relationships/image" Target="../media/image119.png"/><Relationship Id="rId18" Type="http://schemas.openxmlformats.org/officeDocument/2006/relationships/image" Target="../media/image124.png"/><Relationship Id="rId26" Type="http://schemas.openxmlformats.org/officeDocument/2006/relationships/image" Target="../media/image132.png"/><Relationship Id="rId3" Type="http://schemas.openxmlformats.org/officeDocument/2006/relationships/image" Target="../media/image109.png"/><Relationship Id="rId21" Type="http://schemas.openxmlformats.org/officeDocument/2006/relationships/image" Target="../media/image127.png"/><Relationship Id="rId7" Type="http://schemas.openxmlformats.org/officeDocument/2006/relationships/image" Target="../media/image113.png"/><Relationship Id="rId12" Type="http://schemas.openxmlformats.org/officeDocument/2006/relationships/image" Target="../media/image118.png"/><Relationship Id="rId17" Type="http://schemas.openxmlformats.org/officeDocument/2006/relationships/image" Target="../media/image123.png"/><Relationship Id="rId25" Type="http://schemas.openxmlformats.org/officeDocument/2006/relationships/image" Target="../media/image131.png"/><Relationship Id="rId2" Type="http://schemas.openxmlformats.org/officeDocument/2006/relationships/image" Target="../media/image108.png"/><Relationship Id="rId16" Type="http://schemas.openxmlformats.org/officeDocument/2006/relationships/image" Target="../media/image122.png"/><Relationship Id="rId20" Type="http://schemas.openxmlformats.org/officeDocument/2006/relationships/image" Target="../media/image126.png"/><Relationship Id="rId29" Type="http://schemas.openxmlformats.org/officeDocument/2006/relationships/image" Target="../media/image1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png"/><Relationship Id="rId11" Type="http://schemas.openxmlformats.org/officeDocument/2006/relationships/image" Target="../media/image117.png"/><Relationship Id="rId24" Type="http://schemas.openxmlformats.org/officeDocument/2006/relationships/image" Target="../media/image130.png"/><Relationship Id="rId5" Type="http://schemas.openxmlformats.org/officeDocument/2006/relationships/image" Target="../media/image111.png"/><Relationship Id="rId15" Type="http://schemas.openxmlformats.org/officeDocument/2006/relationships/image" Target="../media/image121.png"/><Relationship Id="rId23" Type="http://schemas.openxmlformats.org/officeDocument/2006/relationships/image" Target="../media/image129.png"/><Relationship Id="rId28" Type="http://schemas.openxmlformats.org/officeDocument/2006/relationships/image" Target="../media/image134.png"/><Relationship Id="rId10" Type="http://schemas.openxmlformats.org/officeDocument/2006/relationships/image" Target="../media/image116.png"/><Relationship Id="rId19" Type="http://schemas.openxmlformats.org/officeDocument/2006/relationships/image" Target="../media/image125.png"/><Relationship Id="rId4" Type="http://schemas.openxmlformats.org/officeDocument/2006/relationships/image" Target="../media/image110.png"/><Relationship Id="rId9" Type="http://schemas.openxmlformats.org/officeDocument/2006/relationships/image" Target="../media/image115.png"/><Relationship Id="rId14" Type="http://schemas.openxmlformats.org/officeDocument/2006/relationships/image" Target="../media/image120.png"/><Relationship Id="rId22" Type="http://schemas.openxmlformats.org/officeDocument/2006/relationships/image" Target="../media/image128.png"/><Relationship Id="rId27" Type="http://schemas.openxmlformats.org/officeDocument/2006/relationships/image" Target="../media/image1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13" Type="http://schemas.openxmlformats.org/officeDocument/2006/relationships/image" Target="../media/image149.pn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12" Type="http://schemas.openxmlformats.org/officeDocument/2006/relationships/image" Target="../media/image148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2.png"/><Relationship Id="rId11" Type="http://schemas.openxmlformats.org/officeDocument/2006/relationships/image" Target="../media/image147.png"/><Relationship Id="rId5" Type="http://schemas.openxmlformats.org/officeDocument/2006/relationships/image" Target="../media/image141.png"/><Relationship Id="rId10" Type="http://schemas.openxmlformats.org/officeDocument/2006/relationships/image" Target="../media/image146.png"/><Relationship Id="rId4" Type="http://schemas.openxmlformats.org/officeDocument/2006/relationships/image" Target="../media/image140.png"/><Relationship Id="rId9" Type="http://schemas.openxmlformats.org/officeDocument/2006/relationships/image" Target="../media/image1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g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13" Type="http://schemas.openxmlformats.org/officeDocument/2006/relationships/image" Target="../media/image167.jpg"/><Relationship Id="rId18" Type="http://schemas.openxmlformats.org/officeDocument/2006/relationships/image" Target="../media/image172.jpg"/><Relationship Id="rId26" Type="http://schemas.openxmlformats.org/officeDocument/2006/relationships/image" Target="../media/image180.png"/><Relationship Id="rId3" Type="http://schemas.openxmlformats.org/officeDocument/2006/relationships/image" Target="../media/image157.png"/><Relationship Id="rId21" Type="http://schemas.openxmlformats.org/officeDocument/2006/relationships/image" Target="../media/image175.png"/><Relationship Id="rId7" Type="http://schemas.openxmlformats.org/officeDocument/2006/relationships/image" Target="../media/image161.png"/><Relationship Id="rId12" Type="http://schemas.openxmlformats.org/officeDocument/2006/relationships/image" Target="../media/image166.png"/><Relationship Id="rId17" Type="http://schemas.openxmlformats.org/officeDocument/2006/relationships/image" Target="../media/image171.jpg"/><Relationship Id="rId25" Type="http://schemas.openxmlformats.org/officeDocument/2006/relationships/image" Target="../media/image179.png"/><Relationship Id="rId2" Type="http://schemas.openxmlformats.org/officeDocument/2006/relationships/image" Target="../media/image156.png"/><Relationship Id="rId16" Type="http://schemas.openxmlformats.org/officeDocument/2006/relationships/image" Target="../media/image170.png"/><Relationship Id="rId20" Type="http://schemas.openxmlformats.org/officeDocument/2006/relationships/image" Target="../media/image17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0.png"/><Relationship Id="rId11" Type="http://schemas.openxmlformats.org/officeDocument/2006/relationships/image" Target="../media/image165.png"/><Relationship Id="rId24" Type="http://schemas.openxmlformats.org/officeDocument/2006/relationships/image" Target="../media/image178.png"/><Relationship Id="rId5" Type="http://schemas.openxmlformats.org/officeDocument/2006/relationships/image" Target="../media/image159.png"/><Relationship Id="rId15" Type="http://schemas.openxmlformats.org/officeDocument/2006/relationships/image" Target="../media/image169.png"/><Relationship Id="rId23" Type="http://schemas.openxmlformats.org/officeDocument/2006/relationships/image" Target="../media/image177.png"/><Relationship Id="rId10" Type="http://schemas.openxmlformats.org/officeDocument/2006/relationships/image" Target="../media/image164.png"/><Relationship Id="rId19" Type="http://schemas.openxmlformats.org/officeDocument/2006/relationships/image" Target="../media/image173.png"/><Relationship Id="rId4" Type="http://schemas.openxmlformats.org/officeDocument/2006/relationships/image" Target="../media/image158.png"/><Relationship Id="rId9" Type="http://schemas.openxmlformats.org/officeDocument/2006/relationships/image" Target="../media/image163.png"/><Relationship Id="rId14" Type="http://schemas.openxmlformats.org/officeDocument/2006/relationships/image" Target="../media/image168.png"/><Relationship Id="rId22" Type="http://schemas.openxmlformats.org/officeDocument/2006/relationships/image" Target="../media/image176.png"/><Relationship Id="rId27" Type="http://schemas.openxmlformats.org/officeDocument/2006/relationships/image" Target="../media/image18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5.png"/><Relationship Id="rId18" Type="http://schemas.openxmlformats.org/officeDocument/2006/relationships/image" Target="../media/image200.png"/><Relationship Id="rId26" Type="http://schemas.openxmlformats.org/officeDocument/2006/relationships/image" Target="../media/image208.jpg"/><Relationship Id="rId39" Type="http://schemas.openxmlformats.org/officeDocument/2006/relationships/image" Target="../media/image221.png"/><Relationship Id="rId21" Type="http://schemas.openxmlformats.org/officeDocument/2006/relationships/image" Target="../media/image203.png"/><Relationship Id="rId34" Type="http://schemas.openxmlformats.org/officeDocument/2006/relationships/image" Target="../media/image216.png"/><Relationship Id="rId42" Type="http://schemas.openxmlformats.org/officeDocument/2006/relationships/image" Target="../media/image224.png"/><Relationship Id="rId7" Type="http://schemas.openxmlformats.org/officeDocument/2006/relationships/image" Target="../media/image189.png"/><Relationship Id="rId2" Type="http://schemas.openxmlformats.org/officeDocument/2006/relationships/image" Target="../media/image184.png"/><Relationship Id="rId16" Type="http://schemas.openxmlformats.org/officeDocument/2006/relationships/image" Target="../media/image198.png"/><Relationship Id="rId20" Type="http://schemas.openxmlformats.org/officeDocument/2006/relationships/image" Target="../media/image202.png"/><Relationship Id="rId29" Type="http://schemas.openxmlformats.org/officeDocument/2006/relationships/image" Target="../media/image211.png"/><Relationship Id="rId41" Type="http://schemas.openxmlformats.org/officeDocument/2006/relationships/image" Target="../media/image2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8.png"/><Relationship Id="rId11" Type="http://schemas.openxmlformats.org/officeDocument/2006/relationships/image" Target="../media/image193.png"/><Relationship Id="rId24" Type="http://schemas.openxmlformats.org/officeDocument/2006/relationships/image" Target="../media/image206.png"/><Relationship Id="rId32" Type="http://schemas.openxmlformats.org/officeDocument/2006/relationships/image" Target="../media/image214.png"/><Relationship Id="rId37" Type="http://schemas.openxmlformats.org/officeDocument/2006/relationships/image" Target="../media/image219.png"/><Relationship Id="rId40" Type="http://schemas.openxmlformats.org/officeDocument/2006/relationships/image" Target="../media/image222.png"/><Relationship Id="rId5" Type="http://schemas.openxmlformats.org/officeDocument/2006/relationships/image" Target="../media/image187.png"/><Relationship Id="rId15" Type="http://schemas.openxmlformats.org/officeDocument/2006/relationships/image" Target="../media/image197.png"/><Relationship Id="rId23" Type="http://schemas.openxmlformats.org/officeDocument/2006/relationships/image" Target="../media/image205.png"/><Relationship Id="rId28" Type="http://schemas.openxmlformats.org/officeDocument/2006/relationships/image" Target="../media/image210.png"/><Relationship Id="rId36" Type="http://schemas.openxmlformats.org/officeDocument/2006/relationships/image" Target="../media/image218.png"/><Relationship Id="rId10" Type="http://schemas.openxmlformats.org/officeDocument/2006/relationships/image" Target="../media/image192.png"/><Relationship Id="rId19" Type="http://schemas.openxmlformats.org/officeDocument/2006/relationships/image" Target="../media/image201.png"/><Relationship Id="rId31" Type="http://schemas.openxmlformats.org/officeDocument/2006/relationships/image" Target="../media/image213.png"/><Relationship Id="rId4" Type="http://schemas.openxmlformats.org/officeDocument/2006/relationships/image" Target="../media/image186.png"/><Relationship Id="rId9" Type="http://schemas.openxmlformats.org/officeDocument/2006/relationships/image" Target="../media/image191.png"/><Relationship Id="rId14" Type="http://schemas.openxmlformats.org/officeDocument/2006/relationships/image" Target="../media/image196.png"/><Relationship Id="rId22" Type="http://schemas.openxmlformats.org/officeDocument/2006/relationships/image" Target="../media/image204.png"/><Relationship Id="rId27" Type="http://schemas.openxmlformats.org/officeDocument/2006/relationships/image" Target="../media/image209.png"/><Relationship Id="rId30" Type="http://schemas.openxmlformats.org/officeDocument/2006/relationships/image" Target="../media/image212.png"/><Relationship Id="rId35" Type="http://schemas.openxmlformats.org/officeDocument/2006/relationships/image" Target="../media/image217.png"/><Relationship Id="rId8" Type="http://schemas.openxmlformats.org/officeDocument/2006/relationships/image" Target="../media/image190.png"/><Relationship Id="rId3" Type="http://schemas.openxmlformats.org/officeDocument/2006/relationships/image" Target="../media/image185.png"/><Relationship Id="rId12" Type="http://schemas.openxmlformats.org/officeDocument/2006/relationships/image" Target="../media/image194.png"/><Relationship Id="rId17" Type="http://schemas.openxmlformats.org/officeDocument/2006/relationships/image" Target="../media/image199.png"/><Relationship Id="rId25" Type="http://schemas.openxmlformats.org/officeDocument/2006/relationships/image" Target="../media/image207.png"/><Relationship Id="rId33" Type="http://schemas.openxmlformats.org/officeDocument/2006/relationships/image" Target="../media/image215.png"/><Relationship Id="rId38" Type="http://schemas.openxmlformats.org/officeDocument/2006/relationships/image" Target="../media/image22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4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8.png"/><Relationship Id="rId18" Type="http://schemas.openxmlformats.org/officeDocument/2006/relationships/image" Target="../media/image122.png"/><Relationship Id="rId26" Type="http://schemas.openxmlformats.org/officeDocument/2006/relationships/image" Target="../media/image132.png"/><Relationship Id="rId3" Type="http://schemas.openxmlformats.org/officeDocument/2006/relationships/image" Target="../media/image116.png"/><Relationship Id="rId21" Type="http://schemas.openxmlformats.org/officeDocument/2006/relationships/image" Target="../media/image127.png"/><Relationship Id="rId7" Type="http://schemas.openxmlformats.org/officeDocument/2006/relationships/image" Target="../media/image111.png"/><Relationship Id="rId12" Type="http://schemas.openxmlformats.org/officeDocument/2006/relationships/image" Target="../media/image117.png"/><Relationship Id="rId17" Type="http://schemas.openxmlformats.org/officeDocument/2006/relationships/image" Target="../media/image121.png"/><Relationship Id="rId25" Type="http://schemas.openxmlformats.org/officeDocument/2006/relationships/image" Target="../media/image131.png"/><Relationship Id="rId2" Type="http://schemas.openxmlformats.org/officeDocument/2006/relationships/image" Target="../media/image120.png"/><Relationship Id="rId16" Type="http://schemas.openxmlformats.org/officeDocument/2006/relationships/image" Target="../media/image124.png"/><Relationship Id="rId20" Type="http://schemas.openxmlformats.org/officeDocument/2006/relationships/image" Target="../media/image126.png"/><Relationship Id="rId29" Type="http://schemas.openxmlformats.org/officeDocument/2006/relationships/image" Target="../media/image13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24" Type="http://schemas.openxmlformats.org/officeDocument/2006/relationships/image" Target="../media/image130.png"/><Relationship Id="rId5" Type="http://schemas.openxmlformats.org/officeDocument/2006/relationships/image" Target="../media/image109.png"/><Relationship Id="rId15" Type="http://schemas.openxmlformats.org/officeDocument/2006/relationships/image" Target="../media/image123.png"/><Relationship Id="rId23" Type="http://schemas.openxmlformats.org/officeDocument/2006/relationships/image" Target="../media/image129.png"/><Relationship Id="rId28" Type="http://schemas.openxmlformats.org/officeDocument/2006/relationships/image" Target="../media/image134.png"/><Relationship Id="rId10" Type="http://schemas.openxmlformats.org/officeDocument/2006/relationships/image" Target="../media/image114.png"/><Relationship Id="rId19" Type="http://schemas.openxmlformats.org/officeDocument/2006/relationships/image" Target="../media/image125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Relationship Id="rId14" Type="http://schemas.openxmlformats.org/officeDocument/2006/relationships/image" Target="../media/image119.png"/><Relationship Id="rId22" Type="http://schemas.openxmlformats.org/officeDocument/2006/relationships/image" Target="../media/image128.png"/><Relationship Id="rId27" Type="http://schemas.openxmlformats.org/officeDocument/2006/relationships/image" Target="../media/image133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6.png"/><Relationship Id="rId4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png"/><Relationship Id="rId7" Type="http://schemas.openxmlformats.org/officeDocument/2006/relationships/image" Target="../media/image232.png"/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1.png"/><Relationship Id="rId5" Type="http://schemas.openxmlformats.org/officeDocument/2006/relationships/image" Target="../media/image230.png"/><Relationship Id="rId4" Type="http://schemas.openxmlformats.org/officeDocument/2006/relationships/image" Target="../media/image2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image" Target="../media/image3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openxmlformats.org/officeDocument/2006/relationships/image" Target="../media/image54.pn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2" Type="http://schemas.openxmlformats.org/officeDocument/2006/relationships/image" Target="../media/image1.png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24" Type="http://schemas.openxmlformats.org/officeDocument/2006/relationships/image" Target="../media/image52.jp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jpg"/><Relationship Id="rId10" Type="http://schemas.openxmlformats.org/officeDocument/2006/relationships/image" Target="../media/image38.png"/><Relationship Id="rId19" Type="http://schemas.openxmlformats.org/officeDocument/2006/relationships/image" Target="../media/image47.jp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jpg"/><Relationship Id="rId27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56.png"/><Relationship Id="rId26" Type="http://schemas.openxmlformats.org/officeDocument/2006/relationships/image" Target="../media/image64.png"/><Relationship Id="rId3" Type="http://schemas.openxmlformats.org/officeDocument/2006/relationships/tags" Target="../tags/tag9.xml"/><Relationship Id="rId21" Type="http://schemas.openxmlformats.org/officeDocument/2006/relationships/image" Target="../media/image59.png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63.png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image" Target="../media/image58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image" Target="../media/image62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image" Target="../media/image61.png"/><Relationship Id="rId10" Type="http://schemas.openxmlformats.org/officeDocument/2006/relationships/tags" Target="../tags/tag16.xml"/><Relationship Id="rId19" Type="http://schemas.openxmlformats.org/officeDocument/2006/relationships/image" Target="../media/image57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60.png"/><Relationship Id="rId27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67425" y="6474849"/>
            <a:ext cx="58419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35"/>
              </a:lnSpc>
            </a:pPr>
            <a:r>
              <a:rPr sz="900" spc="-20">
                <a:solidFill>
                  <a:srgbClr val="BFBFBF"/>
                </a:solidFill>
                <a:latin typeface="Trebuchet MS"/>
                <a:cs typeface="Trebuchet MS"/>
              </a:rPr>
              <a:t>1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4" name="object 4"/>
            <p:cNvSpPr/>
            <p:nvPr/>
          </p:nvSpPr>
          <p:spPr>
            <a:xfrm>
              <a:off x="0" y="0"/>
              <a:ext cx="12191999" cy="685799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544050" y="0"/>
              <a:ext cx="2647950" cy="4083050"/>
            </a:xfrm>
            <a:custGeom>
              <a:avLst/>
              <a:gdLst/>
              <a:ahLst/>
              <a:cxnLst/>
              <a:rect l="l" t="t" r="r" b="b"/>
              <a:pathLst>
                <a:path w="2647950" h="4083050">
                  <a:moveTo>
                    <a:pt x="2647950" y="0"/>
                  </a:moveTo>
                  <a:lnTo>
                    <a:pt x="0" y="0"/>
                  </a:lnTo>
                  <a:lnTo>
                    <a:pt x="0" y="4083050"/>
                  </a:lnTo>
                  <a:lnTo>
                    <a:pt x="2647950" y="4083050"/>
                  </a:lnTo>
                  <a:lnTo>
                    <a:pt x="2647950" y="0"/>
                  </a:lnTo>
                  <a:close/>
                </a:path>
              </a:pathLst>
            </a:custGeom>
            <a:solidFill>
              <a:srgbClr val="FFFFFF">
                <a:alpha val="101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189464" y="6419088"/>
              <a:ext cx="1380744" cy="22250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9934702" y="448310"/>
            <a:ext cx="1296670" cy="1074420"/>
          </a:xfrm>
          <a:prstGeom prst="rect">
            <a:avLst/>
          </a:prstGeom>
        </p:spPr>
        <p:txBody>
          <a:bodyPr vert="horz" wrap="square" lIns="0" tIns="7239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70"/>
              </a:spcBef>
            </a:pPr>
            <a:r>
              <a:rPr sz="1200" spc="-50">
                <a:solidFill>
                  <a:srgbClr val="FFFFFF"/>
                </a:solidFill>
                <a:latin typeface="Trebuchet MS"/>
                <a:cs typeface="Trebuchet MS"/>
              </a:rPr>
              <a:t>Av</a:t>
            </a:r>
            <a:endParaRPr sz="1200">
              <a:latin typeface="Trebuchet MS"/>
              <a:cs typeface="Trebuchet MS"/>
            </a:endParaRPr>
          </a:p>
          <a:p>
            <a:pPr marL="12700" marR="5080">
              <a:lnSpc>
                <a:spcPts val="1900"/>
              </a:lnSpc>
              <a:spcBef>
                <a:spcPts val="715"/>
              </a:spcBef>
            </a:pPr>
            <a:r>
              <a:rPr sz="1600" b="1" spc="-114">
                <a:solidFill>
                  <a:srgbClr val="FFFFFF"/>
                </a:solidFill>
                <a:latin typeface="Trebuchet MS"/>
                <a:cs typeface="Trebuchet MS"/>
              </a:rPr>
              <a:t>Yngve </a:t>
            </a:r>
            <a:r>
              <a:rPr sz="1600" b="1" spc="-95">
                <a:solidFill>
                  <a:srgbClr val="FFFFFF"/>
                </a:solidFill>
                <a:latin typeface="Trebuchet MS"/>
                <a:cs typeface="Trebuchet MS"/>
              </a:rPr>
              <a:t>Sture  Christian</a:t>
            </a:r>
            <a:r>
              <a:rPr sz="1600" b="1" spc="-185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00" b="1" spc="-75">
                <a:solidFill>
                  <a:srgbClr val="FFFFFF"/>
                </a:solidFill>
                <a:latin typeface="Trebuchet MS"/>
                <a:cs typeface="Trebuchet MS"/>
              </a:rPr>
              <a:t>Aalby  </a:t>
            </a:r>
            <a:r>
              <a:rPr sz="1600" b="1" spc="-90">
                <a:solidFill>
                  <a:srgbClr val="FFFFFF"/>
                </a:solidFill>
                <a:latin typeface="Trebuchet MS"/>
                <a:cs typeface="Trebuchet MS"/>
              </a:rPr>
              <a:t>Svalesen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1187" y="2860548"/>
            <a:ext cx="4980305" cy="1226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b="1" spc="-180">
                <a:solidFill>
                  <a:srgbClr val="FFFFFF"/>
                </a:solidFill>
                <a:latin typeface="Trebuchet MS"/>
                <a:cs typeface="Trebuchet MS"/>
              </a:rPr>
              <a:t>Data </a:t>
            </a:r>
            <a:r>
              <a:rPr sz="4400" b="1" spc="-240">
                <a:solidFill>
                  <a:srgbClr val="FFFFFF"/>
                </a:solidFill>
                <a:latin typeface="Trebuchet MS"/>
                <a:cs typeface="Trebuchet MS"/>
              </a:rPr>
              <a:t>pipelines </a:t>
            </a:r>
            <a:r>
              <a:rPr sz="4400" b="1" spc="-254">
                <a:solidFill>
                  <a:srgbClr val="FFFFFF"/>
                </a:solidFill>
                <a:latin typeface="Trebuchet MS"/>
                <a:cs typeface="Trebuchet MS"/>
              </a:rPr>
              <a:t>for</a:t>
            </a:r>
            <a:r>
              <a:rPr sz="4400" b="1" spc="-595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4400" b="1" spc="-5">
                <a:solidFill>
                  <a:srgbClr val="FFFFFF"/>
                </a:solidFill>
                <a:latin typeface="Trebuchet MS"/>
                <a:cs typeface="Trebuchet MS"/>
              </a:rPr>
              <a:t>ML</a:t>
            </a:r>
            <a:endParaRPr sz="44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1775"/>
              </a:spcBef>
            </a:pPr>
            <a:r>
              <a:rPr sz="2000" spc="-95">
                <a:solidFill>
                  <a:srgbClr val="FFFFFF"/>
                </a:solidFill>
                <a:latin typeface="Trebuchet MS"/>
                <a:cs typeface="Trebuchet MS"/>
              </a:rPr>
              <a:t>Gjensteforelesning for </a:t>
            </a:r>
            <a:r>
              <a:rPr sz="2000" spc="-50">
                <a:solidFill>
                  <a:srgbClr val="FFFFFF"/>
                </a:solidFill>
                <a:latin typeface="Trebuchet MS"/>
                <a:cs typeface="Trebuchet MS"/>
              </a:rPr>
              <a:t>BI</a:t>
            </a:r>
            <a:r>
              <a:rPr sz="2000" spc="-29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000" spc="-50">
                <a:solidFill>
                  <a:srgbClr val="FFFFFF"/>
                </a:solidFill>
                <a:latin typeface="Trebuchet MS"/>
                <a:cs typeface="Trebuchet MS"/>
              </a:rPr>
              <a:t>GRA4157</a:t>
            </a:r>
            <a:endParaRPr sz="20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934781" y="1560868"/>
            <a:ext cx="3549015" cy="4610100"/>
            <a:chOff x="1934781" y="1560868"/>
            <a:chExt cx="3549015" cy="4610100"/>
          </a:xfrm>
        </p:grpSpPr>
        <p:sp>
          <p:nvSpPr>
            <p:cNvPr id="3" name="object 3"/>
            <p:cNvSpPr/>
            <p:nvPr/>
          </p:nvSpPr>
          <p:spPr>
            <a:xfrm>
              <a:off x="1939544" y="2010867"/>
              <a:ext cx="3539490" cy="4155440"/>
            </a:xfrm>
            <a:custGeom>
              <a:avLst/>
              <a:gdLst/>
              <a:ahLst/>
              <a:cxnLst/>
              <a:rect l="l" t="t" r="r" b="b"/>
              <a:pathLst>
                <a:path w="3539490" h="4155440">
                  <a:moveTo>
                    <a:pt x="0" y="0"/>
                  </a:moveTo>
                  <a:lnTo>
                    <a:pt x="3539072" y="0"/>
                  </a:lnTo>
                  <a:lnTo>
                    <a:pt x="3539072" y="4155002"/>
                  </a:lnTo>
                  <a:lnTo>
                    <a:pt x="0" y="415500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233000" y="1560868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30">
                  <a:moveTo>
                    <a:pt x="449999" y="0"/>
                  </a:moveTo>
                  <a:lnTo>
                    <a:pt x="400964" y="2640"/>
                  </a:lnTo>
                  <a:lnTo>
                    <a:pt x="353460" y="10379"/>
                  </a:lnTo>
                  <a:lnTo>
                    <a:pt x="307760" y="22941"/>
                  </a:lnTo>
                  <a:lnTo>
                    <a:pt x="264138" y="40052"/>
                  </a:lnTo>
                  <a:lnTo>
                    <a:pt x="222870" y="61438"/>
                  </a:lnTo>
                  <a:lnTo>
                    <a:pt x="184230" y="86824"/>
                  </a:lnTo>
                  <a:lnTo>
                    <a:pt x="148492" y="115935"/>
                  </a:lnTo>
                  <a:lnTo>
                    <a:pt x="115930" y="148497"/>
                  </a:lnTo>
                  <a:lnTo>
                    <a:pt x="86820" y="184236"/>
                  </a:lnTo>
                  <a:lnTo>
                    <a:pt x="61435" y="222876"/>
                  </a:lnTo>
                  <a:lnTo>
                    <a:pt x="40050" y="264144"/>
                  </a:lnTo>
                  <a:lnTo>
                    <a:pt x="22940" y="307765"/>
                  </a:lnTo>
                  <a:lnTo>
                    <a:pt x="10378" y="353464"/>
                  </a:lnTo>
                  <a:lnTo>
                    <a:pt x="2640" y="400966"/>
                  </a:lnTo>
                  <a:lnTo>
                    <a:pt x="0" y="449999"/>
                  </a:lnTo>
                  <a:lnTo>
                    <a:pt x="2640" y="499031"/>
                  </a:lnTo>
                  <a:lnTo>
                    <a:pt x="10378" y="546534"/>
                  </a:lnTo>
                  <a:lnTo>
                    <a:pt x="22940" y="592233"/>
                  </a:lnTo>
                  <a:lnTo>
                    <a:pt x="40050" y="635853"/>
                  </a:lnTo>
                  <a:lnTo>
                    <a:pt x="61435" y="677121"/>
                  </a:lnTo>
                  <a:lnTo>
                    <a:pt x="86820" y="715762"/>
                  </a:lnTo>
                  <a:lnTo>
                    <a:pt x="115930" y="751500"/>
                  </a:lnTo>
                  <a:lnTo>
                    <a:pt x="148492" y="784062"/>
                  </a:lnTo>
                  <a:lnTo>
                    <a:pt x="184230" y="813174"/>
                  </a:lnTo>
                  <a:lnTo>
                    <a:pt x="222870" y="838559"/>
                  </a:lnTo>
                  <a:lnTo>
                    <a:pt x="264138" y="859945"/>
                  </a:lnTo>
                  <a:lnTo>
                    <a:pt x="307760" y="877056"/>
                  </a:lnTo>
                  <a:lnTo>
                    <a:pt x="353460" y="889619"/>
                  </a:lnTo>
                  <a:lnTo>
                    <a:pt x="400964" y="897357"/>
                  </a:lnTo>
                  <a:lnTo>
                    <a:pt x="449999" y="899998"/>
                  </a:lnTo>
                  <a:lnTo>
                    <a:pt x="499031" y="897357"/>
                  </a:lnTo>
                  <a:lnTo>
                    <a:pt x="546534" y="889619"/>
                  </a:lnTo>
                  <a:lnTo>
                    <a:pt x="592233" y="877056"/>
                  </a:lnTo>
                  <a:lnTo>
                    <a:pt x="635853" y="859945"/>
                  </a:lnTo>
                  <a:lnTo>
                    <a:pt x="677121" y="838559"/>
                  </a:lnTo>
                  <a:lnTo>
                    <a:pt x="715762" y="813174"/>
                  </a:lnTo>
                  <a:lnTo>
                    <a:pt x="751500" y="784062"/>
                  </a:lnTo>
                  <a:lnTo>
                    <a:pt x="784062" y="751500"/>
                  </a:lnTo>
                  <a:lnTo>
                    <a:pt x="813174" y="715762"/>
                  </a:lnTo>
                  <a:lnTo>
                    <a:pt x="838559" y="677121"/>
                  </a:lnTo>
                  <a:lnTo>
                    <a:pt x="859945" y="635853"/>
                  </a:lnTo>
                  <a:lnTo>
                    <a:pt x="877056" y="592233"/>
                  </a:lnTo>
                  <a:lnTo>
                    <a:pt x="889619" y="546534"/>
                  </a:lnTo>
                  <a:lnTo>
                    <a:pt x="897357" y="499031"/>
                  </a:lnTo>
                  <a:lnTo>
                    <a:pt x="899998" y="449999"/>
                  </a:lnTo>
                  <a:lnTo>
                    <a:pt x="897357" y="400966"/>
                  </a:lnTo>
                  <a:lnTo>
                    <a:pt x="889619" y="353464"/>
                  </a:lnTo>
                  <a:lnTo>
                    <a:pt x="877056" y="307765"/>
                  </a:lnTo>
                  <a:lnTo>
                    <a:pt x="859945" y="264144"/>
                  </a:lnTo>
                  <a:lnTo>
                    <a:pt x="838559" y="222876"/>
                  </a:lnTo>
                  <a:lnTo>
                    <a:pt x="813174" y="184236"/>
                  </a:lnTo>
                  <a:lnTo>
                    <a:pt x="784062" y="148497"/>
                  </a:lnTo>
                  <a:lnTo>
                    <a:pt x="751500" y="115935"/>
                  </a:lnTo>
                  <a:lnTo>
                    <a:pt x="715762" y="86824"/>
                  </a:lnTo>
                  <a:lnTo>
                    <a:pt x="677121" y="61438"/>
                  </a:lnTo>
                  <a:lnTo>
                    <a:pt x="635853" y="40052"/>
                  </a:lnTo>
                  <a:lnTo>
                    <a:pt x="592233" y="22941"/>
                  </a:lnTo>
                  <a:lnTo>
                    <a:pt x="546534" y="10379"/>
                  </a:lnTo>
                  <a:lnTo>
                    <a:pt x="499031" y="2640"/>
                  </a:lnTo>
                  <a:lnTo>
                    <a:pt x="449999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2225890" y="2710179"/>
            <a:ext cx="2961005" cy="3000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4560">
              <a:lnSpc>
                <a:spcPct val="100000"/>
              </a:lnSpc>
              <a:spcBef>
                <a:spcPts val="100"/>
              </a:spcBef>
            </a:pPr>
            <a:r>
              <a:rPr sz="1600" b="1" spc="-80">
                <a:solidFill>
                  <a:srgbClr val="6C03A8"/>
                </a:solidFill>
                <a:latin typeface="Trebuchet MS"/>
                <a:cs typeface="Trebuchet MS"/>
              </a:rPr>
              <a:t>B2B</a:t>
            </a:r>
            <a:r>
              <a:rPr sz="1600" b="1" spc="-12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80">
                <a:solidFill>
                  <a:srgbClr val="6C03A8"/>
                </a:solidFill>
                <a:latin typeface="Trebuchet MS"/>
                <a:cs typeface="Trebuchet MS"/>
              </a:rPr>
              <a:t>Sales</a:t>
            </a:r>
            <a:endParaRPr sz="1600">
              <a:latin typeface="Trebuchet MS"/>
              <a:cs typeface="Trebuchet MS"/>
            </a:endParaRPr>
          </a:p>
          <a:p>
            <a:pPr marL="298450" indent="-285750">
              <a:lnSpc>
                <a:spcPct val="100000"/>
              </a:lnSpc>
              <a:spcBef>
                <a:spcPts val="1590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-80">
                <a:latin typeface="Trebuchet MS"/>
                <a:cs typeface="Trebuchet MS"/>
              </a:rPr>
              <a:t>Large </a:t>
            </a:r>
            <a:r>
              <a:rPr sz="1400" spc="-65">
                <a:latin typeface="Trebuchet MS"/>
                <a:cs typeface="Trebuchet MS"/>
              </a:rPr>
              <a:t>international </a:t>
            </a:r>
            <a:r>
              <a:rPr sz="1400" spc="-60">
                <a:latin typeface="Trebuchet MS"/>
                <a:cs typeface="Trebuchet MS"/>
              </a:rPr>
              <a:t>cloud</a:t>
            </a:r>
            <a:r>
              <a:rPr sz="1400" spc="-190">
                <a:latin typeface="Trebuchet MS"/>
                <a:cs typeface="Trebuchet MS"/>
              </a:rPr>
              <a:t> </a:t>
            </a:r>
            <a:r>
              <a:rPr sz="1400" spc="-85">
                <a:latin typeface="Trebuchet MS"/>
                <a:cs typeface="Trebuchet MS"/>
              </a:rPr>
              <a:t>provider.</a:t>
            </a:r>
            <a:endParaRPr sz="1400">
              <a:latin typeface="Trebuchet MS"/>
              <a:cs typeface="Trebuchet MS"/>
            </a:endParaRPr>
          </a:p>
          <a:p>
            <a:pPr marL="298450" marR="5080" indent="-285750">
              <a:lnSpc>
                <a:spcPct val="101400"/>
              </a:lnSpc>
              <a:spcBef>
                <a:spcPts val="600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10">
                <a:latin typeface="Trebuchet MS"/>
                <a:cs typeface="Trebuchet MS"/>
              </a:rPr>
              <a:t>Mor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han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35">
                <a:latin typeface="Trebuchet MS"/>
                <a:cs typeface="Trebuchet MS"/>
              </a:rPr>
              <a:t>90%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of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85">
                <a:latin typeface="Trebuchet MS"/>
                <a:cs typeface="Trebuchet MS"/>
              </a:rPr>
              <a:t>all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revenu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comes  from </a:t>
            </a:r>
            <a:r>
              <a:rPr sz="1400" spc="-30">
                <a:latin typeface="Trebuchet MS"/>
                <a:cs typeface="Trebuchet MS"/>
              </a:rPr>
              <a:t>B2B</a:t>
            </a:r>
            <a:r>
              <a:rPr sz="1400" spc="-170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sales.</a:t>
            </a:r>
            <a:endParaRPr sz="1400">
              <a:latin typeface="Trebuchet MS"/>
              <a:cs typeface="Trebuchet MS"/>
            </a:endParaRPr>
          </a:p>
          <a:p>
            <a:pPr marL="298450" marR="339725" indent="-285750">
              <a:lnSpc>
                <a:spcPct val="101400"/>
              </a:lnSpc>
              <a:spcBef>
                <a:spcPts val="480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-65">
                <a:latin typeface="Trebuchet MS"/>
                <a:cs typeface="Trebuchet MS"/>
              </a:rPr>
              <a:t>Security </a:t>
            </a:r>
            <a:r>
              <a:rPr sz="1400" spc="-50">
                <a:latin typeface="Trebuchet MS"/>
                <a:cs typeface="Trebuchet MS"/>
              </a:rPr>
              <a:t>and </a:t>
            </a:r>
            <a:r>
              <a:rPr sz="1400" spc="-75">
                <a:latin typeface="Trebuchet MS"/>
                <a:cs typeface="Trebuchet MS"/>
              </a:rPr>
              <a:t>price </a:t>
            </a:r>
            <a:r>
              <a:rPr sz="1400" spc="-70">
                <a:latin typeface="Trebuchet MS"/>
                <a:cs typeface="Trebuchet MS"/>
              </a:rPr>
              <a:t>are  </a:t>
            </a:r>
            <a:r>
              <a:rPr sz="1400" spc="-65">
                <a:latin typeface="Trebuchet MS"/>
                <a:cs typeface="Trebuchet MS"/>
              </a:rPr>
              <a:t>important </a:t>
            </a:r>
            <a:r>
              <a:rPr sz="1400" spc="-60">
                <a:latin typeface="Trebuchet MS"/>
                <a:cs typeface="Trebuchet MS"/>
              </a:rPr>
              <a:t>drivers </a:t>
            </a:r>
            <a:r>
              <a:rPr sz="1400" spc="-55">
                <a:latin typeface="Trebuchet MS"/>
                <a:cs typeface="Trebuchet MS"/>
              </a:rPr>
              <a:t>in </a:t>
            </a:r>
            <a:r>
              <a:rPr sz="1400" spc="-60">
                <a:latin typeface="Trebuchet MS"/>
                <a:cs typeface="Trebuchet MS"/>
              </a:rPr>
              <a:t>the</a:t>
            </a:r>
            <a:r>
              <a:rPr sz="1400" spc="-290">
                <a:latin typeface="Trebuchet MS"/>
                <a:cs typeface="Trebuchet MS"/>
              </a:rPr>
              <a:t> </a:t>
            </a:r>
            <a:r>
              <a:rPr sz="1400" spc="-90">
                <a:latin typeface="Trebuchet MS"/>
                <a:cs typeface="Trebuchet MS"/>
              </a:rPr>
              <a:t>market.</a:t>
            </a:r>
            <a:endParaRPr sz="1400">
              <a:latin typeface="Trebuchet MS"/>
              <a:cs typeface="Trebuchet MS"/>
            </a:endParaRPr>
          </a:p>
          <a:p>
            <a:pPr marL="298450" marR="50800" indent="-285750">
              <a:lnSpc>
                <a:spcPct val="101400"/>
              </a:lnSpc>
              <a:spcBef>
                <a:spcPts val="600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5">
                <a:latin typeface="Trebuchet MS"/>
                <a:cs typeface="Trebuchet MS"/>
              </a:rPr>
              <a:t>Many </a:t>
            </a:r>
            <a:r>
              <a:rPr sz="1400" spc="-60">
                <a:latin typeface="Trebuchet MS"/>
                <a:cs typeface="Trebuchet MS"/>
              </a:rPr>
              <a:t>customers </a:t>
            </a:r>
            <a:r>
              <a:rPr sz="1400" spc="-80">
                <a:latin typeface="Trebuchet MS"/>
                <a:cs typeface="Trebuchet MS"/>
              </a:rPr>
              <a:t>still </a:t>
            </a:r>
            <a:r>
              <a:rPr sz="1400" spc="-70">
                <a:latin typeface="Trebuchet MS"/>
                <a:cs typeface="Trebuchet MS"/>
              </a:rPr>
              <a:t>believe </a:t>
            </a:r>
            <a:r>
              <a:rPr sz="1400" spc="-60">
                <a:latin typeface="Trebuchet MS"/>
                <a:cs typeface="Trebuchet MS"/>
              </a:rPr>
              <a:t>cloud  computing </a:t>
            </a:r>
            <a:r>
              <a:rPr sz="1400" spc="-50">
                <a:latin typeface="Trebuchet MS"/>
                <a:cs typeface="Trebuchet MS"/>
              </a:rPr>
              <a:t>is dangerous and</a:t>
            </a:r>
            <a:r>
              <a:rPr sz="1400" spc="-265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unsafe.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200">
              <a:latin typeface="Trebuchet MS"/>
              <a:cs typeface="Trebuchet MS"/>
            </a:endParaRPr>
          </a:p>
          <a:p>
            <a:pPr marL="12700" marR="16510">
              <a:lnSpc>
                <a:spcPts val="1900"/>
              </a:lnSpc>
            </a:pPr>
            <a:r>
              <a:rPr sz="1600" b="1" spc="-100">
                <a:solidFill>
                  <a:srgbClr val="6C03A8"/>
                </a:solidFill>
                <a:latin typeface="Trebuchet MS"/>
                <a:cs typeface="Trebuchet MS"/>
              </a:rPr>
              <a:t>Strategic </a:t>
            </a:r>
            <a:r>
              <a:rPr sz="1600" b="1" spc="-85">
                <a:solidFill>
                  <a:srgbClr val="6C03A8"/>
                </a:solidFill>
                <a:latin typeface="Trebuchet MS"/>
                <a:cs typeface="Trebuchet MS"/>
              </a:rPr>
              <a:t>goal: </a:t>
            </a:r>
            <a:r>
              <a:rPr sz="1600" b="1" spc="-95">
                <a:solidFill>
                  <a:srgbClr val="6C03A8"/>
                </a:solidFill>
                <a:latin typeface="Trebuchet MS"/>
                <a:cs typeface="Trebuchet MS"/>
              </a:rPr>
              <a:t>Increase </a:t>
            </a:r>
            <a:r>
              <a:rPr sz="1600" b="1" spc="-110">
                <a:solidFill>
                  <a:srgbClr val="6C03A8"/>
                </a:solidFill>
                <a:latin typeface="Trebuchet MS"/>
                <a:cs typeface="Trebuchet MS"/>
              </a:rPr>
              <a:t>revenue</a:t>
            </a:r>
            <a:r>
              <a:rPr sz="1600" b="1" spc="-2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90">
                <a:solidFill>
                  <a:srgbClr val="6C03A8"/>
                </a:solidFill>
                <a:latin typeface="Trebuchet MS"/>
                <a:cs typeface="Trebuchet MS"/>
              </a:rPr>
              <a:t>by  </a:t>
            </a:r>
            <a:r>
              <a:rPr sz="1600" b="1" spc="-65">
                <a:solidFill>
                  <a:srgbClr val="6C03A8"/>
                </a:solidFill>
                <a:latin typeface="Trebuchet MS"/>
                <a:cs typeface="Trebuchet MS"/>
              </a:rPr>
              <a:t>10% </a:t>
            </a:r>
            <a:r>
              <a:rPr sz="1600" b="1" spc="-90">
                <a:solidFill>
                  <a:srgbClr val="6C03A8"/>
                </a:solidFill>
                <a:latin typeface="Trebuchet MS"/>
                <a:cs typeface="Trebuchet MS"/>
              </a:rPr>
              <a:t>within </a:t>
            </a:r>
            <a:r>
              <a:rPr sz="1600" b="1" spc="-130">
                <a:solidFill>
                  <a:srgbClr val="6C03A8"/>
                </a:solidFill>
                <a:latin typeface="Trebuchet MS"/>
                <a:cs typeface="Trebuchet MS"/>
              </a:rPr>
              <a:t>3</a:t>
            </a:r>
            <a:r>
              <a:rPr sz="1600" b="1" spc="-21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110">
                <a:solidFill>
                  <a:srgbClr val="6C03A8"/>
                </a:solidFill>
                <a:latin typeface="Trebuchet MS"/>
                <a:cs typeface="Trebuchet MS"/>
              </a:rPr>
              <a:t>years.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73723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50"/>
              <a:t>Ca</a:t>
            </a:r>
            <a:r>
              <a:rPr spc="-105"/>
              <a:t>ses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611187" y="1068324"/>
            <a:ext cx="201104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40">
                <a:latin typeface="Trebuchet MS"/>
                <a:cs typeface="Trebuchet MS"/>
              </a:rPr>
              <a:t>How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urn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valu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into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data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496278" y="1589443"/>
            <a:ext cx="3549015" cy="4610100"/>
            <a:chOff x="6496278" y="1589443"/>
            <a:chExt cx="3549015" cy="4610100"/>
          </a:xfrm>
        </p:grpSpPr>
        <p:sp>
          <p:nvSpPr>
            <p:cNvPr id="9" name="object 9"/>
            <p:cNvSpPr/>
            <p:nvPr/>
          </p:nvSpPr>
          <p:spPr>
            <a:xfrm>
              <a:off x="6501041" y="2039442"/>
              <a:ext cx="3539490" cy="4155440"/>
            </a:xfrm>
            <a:custGeom>
              <a:avLst/>
              <a:gdLst/>
              <a:ahLst/>
              <a:cxnLst/>
              <a:rect l="l" t="t" r="r" b="b"/>
              <a:pathLst>
                <a:path w="3539490" h="4155440">
                  <a:moveTo>
                    <a:pt x="0" y="0"/>
                  </a:moveTo>
                  <a:lnTo>
                    <a:pt x="3539072" y="0"/>
                  </a:lnTo>
                  <a:lnTo>
                    <a:pt x="3539072" y="4155002"/>
                  </a:lnTo>
                  <a:lnTo>
                    <a:pt x="0" y="415500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794485" y="1589443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30">
                  <a:moveTo>
                    <a:pt x="449999" y="0"/>
                  </a:moveTo>
                  <a:lnTo>
                    <a:pt x="400966" y="2640"/>
                  </a:lnTo>
                  <a:lnTo>
                    <a:pt x="353464" y="10379"/>
                  </a:lnTo>
                  <a:lnTo>
                    <a:pt x="307765" y="22941"/>
                  </a:lnTo>
                  <a:lnTo>
                    <a:pt x="264144" y="40052"/>
                  </a:lnTo>
                  <a:lnTo>
                    <a:pt x="222876" y="61438"/>
                  </a:lnTo>
                  <a:lnTo>
                    <a:pt x="184236" y="86824"/>
                  </a:lnTo>
                  <a:lnTo>
                    <a:pt x="148497" y="115935"/>
                  </a:lnTo>
                  <a:lnTo>
                    <a:pt x="115935" y="148497"/>
                  </a:lnTo>
                  <a:lnTo>
                    <a:pt x="86824" y="184236"/>
                  </a:lnTo>
                  <a:lnTo>
                    <a:pt x="61438" y="222876"/>
                  </a:lnTo>
                  <a:lnTo>
                    <a:pt x="40052" y="264144"/>
                  </a:lnTo>
                  <a:lnTo>
                    <a:pt x="22941" y="307765"/>
                  </a:lnTo>
                  <a:lnTo>
                    <a:pt x="10379" y="353464"/>
                  </a:lnTo>
                  <a:lnTo>
                    <a:pt x="2640" y="400966"/>
                  </a:lnTo>
                  <a:lnTo>
                    <a:pt x="0" y="449999"/>
                  </a:lnTo>
                  <a:lnTo>
                    <a:pt x="2640" y="499031"/>
                  </a:lnTo>
                  <a:lnTo>
                    <a:pt x="10379" y="546534"/>
                  </a:lnTo>
                  <a:lnTo>
                    <a:pt x="22941" y="592233"/>
                  </a:lnTo>
                  <a:lnTo>
                    <a:pt x="40052" y="635853"/>
                  </a:lnTo>
                  <a:lnTo>
                    <a:pt x="61438" y="677121"/>
                  </a:lnTo>
                  <a:lnTo>
                    <a:pt x="86824" y="715762"/>
                  </a:lnTo>
                  <a:lnTo>
                    <a:pt x="115935" y="751500"/>
                  </a:lnTo>
                  <a:lnTo>
                    <a:pt x="148497" y="784062"/>
                  </a:lnTo>
                  <a:lnTo>
                    <a:pt x="184236" y="813174"/>
                  </a:lnTo>
                  <a:lnTo>
                    <a:pt x="222876" y="838559"/>
                  </a:lnTo>
                  <a:lnTo>
                    <a:pt x="264144" y="859945"/>
                  </a:lnTo>
                  <a:lnTo>
                    <a:pt x="307765" y="877056"/>
                  </a:lnTo>
                  <a:lnTo>
                    <a:pt x="353464" y="889619"/>
                  </a:lnTo>
                  <a:lnTo>
                    <a:pt x="400966" y="897357"/>
                  </a:lnTo>
                  <a:lnTo>
                    <a:pt x="449999" y="899998"/>
                  </a:lnTo>
                  <a:lnTo>
                    <a:pt x="499031" y="897357"/>
                  </a:lnTo>
                  <a:lnTo>
                    <a:pt x="546534" y="889619"/>
                  </a:lnTo>
                  <a:lnTo>
                    <a:pt x="592233" y="877056"/>
                  </a:lnTo>
                  <a:lnTo>
                    <a:pt x="635853" y="859945"/>
                  </a:lnTo>
                  <a:lnTo>
                    <a:pt x="677121" y="838559"/>
                  </a:lnTo>
                  <a:lnTo>
                    <a:pt x="715762" y="813174"/>
                  </a:lnTo>
                  <a:lnTo>
                    <a:pt x="751500" y="784062"/>
                  </a:lnTo>
                  <a:lnTo>
                    <a:pt x="784062" y="751500"/>
                  </a:lnTo>
                  <a:lnTo>
                    <a:pt x="813174" y="715762"/>
                  </a:lnTo>
                  <a:lnTo>
                    <a:pt x="838559" y="677121"/>
                  </a:lnTo>
                  <a:lnTo>
                    <a:pt x="859945" y="635853"/>
                  </a:lnTo>
                  <a:lnTo>
                    <a:pt x="877056" y="592233"/>
                  </a:lnTo>
                  <a:lnTo>
                    <a:pt x="889619" y="546534"/>
                  </a:lnTo>
                  <a:lnTo>
                    <a:pt x="897357" y="499031"/>
                  </a:lnTo>
                  <a:lnTo>
                    <a:pt x="899998" y="449999"/>
                  </a:lnTo>
                  <a:lnTo>
                    <a:pt x="897357" y="400966"/>
                  </a:lnTo>
                  <a:lnTo>
                    <a:pt x="889619" y="353464"/>
                  </a:lnTo>
                  <a:lnTo>
                    <a:pt x="877056" y="307765"/>
                  </a:lnTo>
                  <a:lnTo>
                    <a:pt x="859945" y="264144"/>
                  </a:lnTo>
                  <a:lnTo>
                    <a:pt x="838559" y="222876"/>
                  </a:lnTo>
                  <a:lnTo>
                    <a:pt x="813174" y="184236"/>
                  </a:lnTo>
                  <a:lnTo>
                    <a:pt x="784062" y="148497"/>
                  </a:lnTo>
                  <a:lnTo>
                    <a:pt x="751500" y="115935"/>
                  </a:lnTo>
                  <a:lnTo>
                    <a:pt x="715762" y="86824"/>
                  </a:lnTo>
                  <a:lnTo>
                    <a:pt x="677121" y="61438"/>
                  </a:lnTo>
                  <a:lnTo>
                    <a:pt x="635853" y="40052"/>
                  </a:lnTo>
                  <a:lnTo>
                    <a:pt x="592233" y="22941"/>
                  </a:lnTo>
                  <a:lnTo>
                    <a:pt x="546534" y="10379"/>
                  </a:lnTo>
                  <a:lnTo>
                    <a:pt x="499031" y="2640"/>
                  </a:lnTo>
                  <a:lnTo>
                    <a:pt x="449999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6660146" y="2710179"/>
            <a:ext cx="3153410" cy="28428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25805">
              <a:lnSpc>
                <a:spcPct val="100000"/>
              </a:lnSpc>
              <a:spcBef>
                <a:spcPts val="100"/>
              </a:spcBef>
            </a:pPr>
            <a:r>
              <a:rPr sz="1600" b="1" spc="-110">
                <a:solidFill>
                  <a:srgbClr val="6C03A8"/>
                </a:solidFill>
                <a:latin typeface="Trebuchet MS"/>
                <a:cs typeface="Trebuchet MS"/>
              </a:rPr>
              <a:t>Telecommunication</a:t>
            </a:r>
            <a:endParaRPr sz="1600">
              <a:latin typeface="Trebuchet MS"/>
              <a:cs typeface="Trebuchet MS"/>
            </a:endParaRPr>
          </a:p>
          <a:p>
            <a:pPr marL="298450" indent="-285750">
              <a:lnSpc>
                <a:spcPct val="100000"/>
              </a:lnSpc>
              <a:spcBef>
                <a:spcPts val="1685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-55">
                <a:latin typeface="Trebuchet MS"/>
                <a:cs typeface="Trebuchet MS"/>
              </a:rPr>
              <a:t>National </a:t>
            </a:r>
            <a:r>
              <a:rPr sz="1400" spc="-65">
                <a:latin typeface="Trebuchet MS"/>
                <a:cs typeface="Trebuchet MS"/>
              </a:rPr>
              <a:t>telecommunications</a:t>
            </a:r>
            <a:r>
              <a:rPr sz="1400" spc="-185">
                <a:latin typeface="Trebuchet MS"/>
                <a:cs typeface="Trebuchet MS"/>
              </a:rPr>
              <a:t> </a:t>
            </a:r>
            <a:r>
              <a:rPr sz="1400" spc="-85">
                <a:latin typeface="Trebuchet MS"/>
                <a:cs typeface="Trebuchet MS"/>
              </a:rPr>
              <a:t>provider.</a:t>
            </a:r>
            <a:endParaRPr sz="1400">
              <a:latin typeface="Trebuchet MS"/>
              <a:cs typeface="Trebuchet MS"/>
            </a:endParaRPr>
          </a:p>
          <a:p>
            <a:pPr marL="298450" marR="208279" indent="-285750">
              <a:lnSpc>
                <a:spcPct val="98600"/>
              </a:lnSpc>
              <a:spcBef>
                <a:spcPts val="625"/>
              </a:spcBef>
              <a:buFont typeface="Arial"/>
              <a:buChar char="•"/>
              <a:tabLst>
                <a:tab pos="297815" algn="l"/>
                <a:tab pos="298450" algn="l"/>
              </a:tabLst>
            </a:pPr>
            <a:r>
              <a:rPr sz="1400" spc="-35">
                <a:latin typeface="Trebuchet MS"/>
                <a:cs typeface="Trebuchet MS"/>
              </a:rPr>
              <a:t>Market </a:t>
            </a:r>
            <a:r>
              <a:rPr sz="1400" spc="-50">
                <a:latin typeface="Trebuchet MS"/>
                <a:cs typeface="Trebuchet MS"/>
              </a:rPr>
              <a:t>is </a:t>
            </a:r>
            <a:r>
              <a:rPr sz="1400" spc="-85">
                <a:latin typeface="Trebuchet MS"/>
                <a:cs typeface="Trebuchet MS"/>
              </a:rPr>
              <a:t>fierce </a:t>
            </a:r>
            <a:r>
              <a:rPr sz="1400" spc="-60">
                <a:latin typeface="Trebuchet MS"/>
                <a:cs typeface="Trebuchet MS"/>
              </a:rPr>
              <a:t>with many</a:t>
            </a:r>
            <a:r>
              <a:rPr sz="1400" spc="-33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providers  </a:t>
            </a:r>
            <a:r>
              <a:rPr sz="1400" spc="-50">
                <a:latin typeface="Trebuchet MS"/>
                <a:cs typeface="Trebuchet MS"/>
              </a:rPr>
              <a:t>and </a:t>
            </a:r>
            <a:r>
              <a:rPr sz="1400" spc="-55">
                <a:latin typeface="Trebuchet MS"/>
                <a:cs typeface="Trebuchet MS"/>
              </a:rPr>
              <a:t>low </a:t>
            </a:r>
            <a:r>
              <a:rPr sz="1400" spc="-70">
                <a:latin typeface="Trebuchet MS"/>
                <a:cs typeface="Trebuchet MS"/>
              </a:rPr>
              <a:t>margins, </a:t>
            </a:r>
            <a:r>
              <a:rPr sz="1400" spc="-60">
                <a:latin typeface="Trebuchet MS"/>
                <a:cs typeface="Trebuchet MS"/>
              </a:rPr>
              <a:t>making </a:t>
            </a:r>
            <a:r>
              <a:rPr sz="1400" spc="-65">
                <a:latin typeface="Trebuchet MS"/>
                <a:cs typeface="Trebuchet MS"/>
              </a:rPr>
              <a:t>every  </a:t>
            </a:r>
            <a:r>
              <a:rPr sz="1400" spc="-60">
                <a:latin typeface="Trebuchet MS"/>
                <a:cs typeface="Trebuchet MS"/>
              </a:rPr>
              <a:t>customer very</a:t>
            </a:r>
            <a:r>
              <a:rPr sz="1400" spc="-160">
                <a:latin typeface="Trebuchet MS"/>
                <a:cs typeface="Trebuchet MS"/>
              </a:rPr>
              <a:t> </a:t>
            </a:r>
            <a:r>
              <a:rPr sz="1400" spc="-80">
                <a:latin typeface="Trebuchet MS"/>
                <a:cs typeface="Trebuchet MS"/>
              </a:rPr>
              <a:t>valuable.</a:t>
            </a:r>
            <a:endParaRPr sz="1400">
              <a:latin typeface="Trebuchet MS"/>
              <a:cs typeface="Trebuchet MS"/>
            </a:endParaRPr>
          </a:p>
          <a:p>
            <a:pPr marL="298450" marR="5080" indent="-285750" algn="just">
              <a:lnSpc>
                <a:spcPct val="100699"/>
              </a:lnSpc>
              <a:spcBef>
                <a:spcPts val="610"/>
              </a:spcBef>
              <a:buFont typeface="Arial"/>
              <a:buChar char="•"/>
              <a:tabLst>
                <a:tab pos="298450" algn="l"/>
              </a:tabLst>
            </a:pPr>
            <a:r>
              <a:rPr sz="1400" spc="-65">
                <a:latin typeface="Trebuchet MS"/>
                <a:cs typeface="Trebuchet MS"/>
              </a:rPr>
              <a:t>Retention </a:t>
            </a:r>
            <a:r>
              <a:rPr sz="1400" spc="-55">
                <a:latin typeface="Trebuchet MS"/>
                <a:cs typeface="Trebuchet MS"/>
              </a:rPr>
              <a:t>of </a:t>
            </a:r>
            <a:r>
              <a:rPr sz="1400" spc="-60">
                <a:latin typeface="Trebuchet MS"/>
                <a:cs typeface="Trebuchet MS"/>
              </a:rPr>
              <a:t>customers </a:t>
            </a:r>
            <a:r>
              <a:rPr sz="1400" spc="-65">
                <a:latin typeface="Trebuchet MS"/>
                <a:cs typeface="Trebuchet MS"/>
              </a:rPr>
              <a:t>have </a:t>
            </a:r>
            <a:r>
              <a:rPr sz="1400" spc="-55">
                <a:latin typeface="Trebuchet MS"/>
                <a:cs typeface="Trebuchet MS"/>
              </a:rPr>
              <a:t>proven to  </a:t>
            </a:r>
            <a:r>
              <a:rPr sz="1400" spc="-60">
                <a:latin typeface="Trebuchet MS"/>
                <a:cs typeface="Trebuchet MS"/>
              </a:rPr>
              <a:t>be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a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80">
                <a:latin typeface="Trebuchet MS"/>
                <a:cs typeface="Trebuchet MS"/>
              </a:rPr>
              <a:t>difficult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area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in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he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past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wher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he  company </a:t>
            </a:r>
            <a:r>
              <a:rPr sz="1400" spc="-35">
                <a:latin typeface="Trebuchet MS"/>
                <a:cs typeface="Trebuchet MS"/>
              </a:rPr>
              <a:t>now </a:t>
            </a:r>
            <a:r>
              <a:rPr sz="1400" spc="-55">
                <a:latin typeface="Trebuchet MS"/>
                <a:cs typeface="Trebuchet MS"/>
              </a:rPr>
              <a:t>wants to</a:t>
            </a:r>
            <a:r>
              <a:rPr sz="1400" spc="-31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improve.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900">
              <a:latin typeface="Trebuchet MS"/>
              <a:cs typeface="Trebuchet MS"/>
            </a:endParaRPr>
          </a:p>
          <a:p>
            <a:pPr marL="12700" marR="29845">
              <a:lnSpc>
                <a:spcPct val="101400"/>
              </a:lnSpc>
            </a:pPr>
            <a:r>
              <a:rPr sz="1400" b="1" spc="-85">
                <a:solidFill>
                  <a:srgbClr val="6C03A8"/>
                </a:solidFill>
                <a:latin typeface="Trebuchet MS"/>
                <a:cs typeface="Trebuchet MS"/>
              </a:rPr>
              <a:t>Strategic </a:t>
            </a:r>
            <a:r>
              <a:rPr sz="1400" b="1" spc="-75">
                <a:solidFill>
                  <a:srgbClr val="6C03A8"/>
                </a:solidFill>
                <a:latin typeface="Trebuchet MS"/>
                <a:cs typeface="Trebuchet MS"/>
              </a:rPr>
              <a:t>goal: </a:t>
            </a:r>
            <a:r>
              <a:rPr sz="1400" b="1" spc="-85">
                <a:solidFill>
                  <a:srgbClr val="6C03A8"/>
                </a:solidFill>
                <a:latin typeface="Trebuchet MS"/>
                <a:cs typeface="Trebuchet MS"/>
              </a:rPr>
              <a:t>Increase </a:t>
            </a:r>
            <a:r>
              <a:rPr sz="1400" b="1" spc="-95">
                <a:solidFill>
                  <a:srgbClr val="6C03A8"/>
                </a:solidFill>
                <a:latin typeface="Trebuchet MS"/>
                <a:cs typeface="Trebuchet MS"/>
              </a:rPr>
              <a:t>market </a:t>
            </a:r>
            <a:r>
              <a:rPr sz="1400" b="1" spc="-85">
                <a:solidFill>
                  <a:srgbClr val="6C03A8"/>
                </a:solidFill>
                <a:latin typeface="Trebuchet MS"/>
                <a:cs typeface="Trebuchet MS"/>
              </a:rPr>
              <a:t>share</a:t>
            </a:r>
            <a:r>
              <a:rPr sz="1400" b="1" spc="-21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400" b="1" spc="-80">
                <a:solidFill>
                  <a:srgbClr val="6C03A8"/>
                </a:solidFill>
                <a:latin typeface="Trebuchet MS"/>
                <a:cs typeface="Trebuchet MS"/>
              </a:rPr>
              <a:t>from  </a:t>
            </a:r>
            <a:r>
              <a:rPr sz="1400" b="1" spc="-55">
                <a:solidFill>
                  <a:srgbClr val="6C03A8"/>
                </a:solidFill>
                <a:latin typeface="Trebuchet MS"/>
                <a:cs typeface="Trebuchet MS"/>
              </a:rPr>
              <a:t>10% </a:t>
            </a:r>
            <a:r>
              <a:rPr sz="1400" b="1" spc="-65">
                <a:solidFill>
                  <a:srgbClr val="6C03A8"/>
                </a:solidFill>
                <a:latin typeface="Trebuchet MS"/>
                <a:cs typeface="Trebuchet MS"/>
              </a:rPr>
              <a:t>to </a:t>
            </a:r>
            <a:r>
              <a:rPr sz="1400" b="1" spc="-55">
                <a:solidFill>
                  <a:srgbClr val="6C03A8"/>
                </a:solidFill>
                <a:latin typeface="Trebuchet MS"/>
                <a:cs typeface="Trebuchet MS"/>
              </a:rPr>
              <a:t>15% </a:t>
            </a:r>
            <a:r>
              <a:rPr sz="1400" b="1" spc="-75">
                <a:solidFill>
                  <a:srgbClr val="6C03A8"/>
                </a:solidFill>
                <a:latin typeface="Trebuchet MS"/>
                <a:cs typeface="Trebuchet MS"/>
              </a:rPr>
              <a:t>within </a:t>
            </a:r>
            <a:r>
              <a:rPr sz="1400" b="1" spc="-114">
                <a:solidFill>
                  <a:srgbClr val="6C03A8"/>
                </a:solidFill>
                <a:latin typeface="Trebuchet MS"/>
                <a:cs typeface="Trebuchet MS"/>
              </a:rPr>
              <a:t>2</a:t>
            </a:r>
            <a:r>
              <a:rPr sz="1400" b="1" spc="-32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400" b="1" spc="-95">
                <a:solidFill>
                  <a:srgbClr val="6C03A8"/>
                </a:solidFill>
                <a:latin typeface="Trebuchet MS"/>
                <a:cs typeface="Trebuchet MS"/>
              </a:rPr>
              <a:t>years.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3362693" y="1759051"/>
            <a:ext cx="581025" cy="476884"/>
            <a:chOff x="3362693" y="1759051"/>
            <a:chExt cx="581025" cy="476884"/>
          </a:xfrm>
        </p:grpSpPr>
        <p:sp>
          <p:nvSpPr>
            <p:cNvPr id="13" name="object 13"/>
            <p:cNvSpPr/>
            <p:nvPr/>
          </p:nvSpPr>
          <p:spPr>
            <a:xfrm>
              <a:off x="3362693" y="1759051"/>
              <a:ext cx="581025" cy="476884"/>
            </a:xfrm>
            <a:custGeom>
              <a:avLst/>
              <a:gdLst/>
              <a:ahLst/>
              <a:cxnLst/>
              <a:rect l="l" t="t" r="r" b="b"/>
              <a:pathLst>
                <a:path w="581025" h="476885">
                  <a:moveTo>
                    <a:pt x="209245" y="241604"/>
                  </a:moveTo>
                  <a:lnTo>
                    <a:pt x="195211" y="241604"/>
                  </a:lnTo>
                  <a:lnTo>
                    <a:pt x="188836" y="247967"/>
                  </a:lnTo>
                  <a:lnTo>
                    <a:pt x="0" y="476846"/>
                  </a:lnTo>
                  <a:lnTo>
                    <a:pt x="54863" y="476846"/>
                  </a:lnTo>
                  <a:lnTo>
                    <a:pt x="199047" y="300418"/>
                  </a:lnTo>
                  <a:lnTo>
                    <a:pt x="258250" y="300418"/>
                  </a:lnTo>
                  <a:lnTo>
                    <a:pt x="214350" y="247967"/>
                  </a:lnTo>
                  <a:lnTo>
                    <a:pt x="209245" y="241604"/>
                  </a:lnTo>
                  <a:close/>
                </a:path>
                <a:path w="581025" h="476885">
                  <a:moveTo>
                    <a:pt x="258250" y="300418"/>
                  </a:moveTo>
                  <a:lnTo>
                    <a:pt x="205422" y="300418"/>
                  </a:lnTo>
                  <a:lnTo>
                    <a:pt x="267944" y="378307"/>
                  </a:lnTo>
                  <a:lnTo>
                    <a:pt x="274320" y="381482"/>
                  </a:lnTo>
                  <a:lnTo>
                    <a:pt x="281978" y="384657"/>
                  </a:lnTo>
                  <a:lnTo>
                    <a:pt x="288353" y="381482"/>
                  </a:lnTo>
                  <a:lnTo>
                    <a:pt x="293458" y="378307"/>
                  </a:lnTo>
                  <a:lnTo>
                    <a:pt x="337307" y="324256"/>
                  </a:lnTo>
                  <a:lnTo>
                    <a:pt x="281978" y="324256"/>
                  </a:lnTo>
                  <a:lnTo>
                    <a:pt x="276872" y="322668"/>
                  </a:lnTo>
                  <a:lnTo>
                    <a:pt x="258250" y="300418"/>
                  </a:lnTo>
                  <a:close/>
                </a:path>
                <a:path w="581025" h="476885">
                  <a:moveTo>
                    <a:pt x="565238" y="0"/>
                  </a:moveTo>
                  <a:lnTo>
                    <a:pt x="460616" y="0"/>
                  </a:lnTo>
                  <a:lnTo>
                    <a:pt x="454228" y="3187"/>
                  </a:lnTo>
                  <a:lnTo>
                    <a:pt x="449135" y="6362"/>
                  </a:lnTo>
                  <a:lnTo>
                    <a:pt x="446570" y="11125"/>
                  </a:lnTo>
                  <a:lnTo>
                    <a:pt x="445300" y="15900"/>
                  </a:lnTo>
                  <a:lnTo>
                    <a:pt x="444030" y="22250"/>
                  </a:lnTo>
                  <a:lnTo>
                    <a:pt x="445300" y="28613"/>
                  </a:lnTo>
                  <a:lnTo>
                    <a:pt x="446570" y="33388"/>
                  </a:lnTo>
                  <a:lnTo>
                    <a:pt x="450405" y="38150"/>
                  </a:lnTo>
                  <a:lnTo>
                    <a:pt x="454228" y="39738"/>
                  </a:lnTo>
                  <a:lnTo>
                    <a:pt x="460616" y="42913"/>
                  </a:lnTo>
                  <a:lnTo>
                    <a:pt x="496341" y="42913"/>
                  </a:lnTo>
                  <a:lnTo>
                    <a:pt x="503999" y="46100"/>
                  </a:lnTo>
                  <a:lnTo>
                    <a:pt x="503999" y="50863"/>
                  </a:lnTo>
                  <a:lnTo>
                    <a:pt x="501446" y="55638"/>
                  </a:lnTo>
                  <a:lnTo>
                    <a:pt x="285813" y="322668"/>
                  </a:lnTo>
                  <a:lnTo>
                    <a:pt x="281978" y="324256"/>
                  </a:lnTo>
                  <a:lnTo>
                    <a:pt x="337307" y="324256"/>
                  </a:lnTo>
                  <a:lnTo>
                    <a:pt x="537171" y="77889"/>
                  </a:lnTo>
                  <a:lnTo>
                    <a:pt x="538441" y="74714"/>
                  </a:lnTo>
                  <a:lnTo>
                    <a:pt x="542277" y="73113"/>
                  </a:lnTo>
                  <a:lnTo>
                    <a:pt x="580555" y="73113"/>
                  </a:lnTo>
                  <a:lnTo>
                    <a:pt x="580555" y="20662"/>
                  </a:lnTo>
                  <a:lnTo>
                    <a:pt x="579272" y="14312"/>
                  </a:lnTo>
                  <a:lnTo>
                    <a:pt x="575449" y="6362"/>
                  </a:lnTo>
                  <a:lnTo>
                    <a:pt x="565238" y="0"/>
                  </a:lnTo>
                  <a:close/>
                </a:path>
                <a:path w="581025" h="476885">
                  <a:moveTo>
                    <a:pt x="580555" y="73113"/>
                  </a:moveTo>
                  <a:lnTo>
                    <a:pt x="542277" y="73113"/>
                  </a:lnTo>
                  <a:lnTo>
                    <a:pt x="543547" y="74714"/>
                  </a:lnTo>
                  <a:lnTo>
                    <a:pt x="547370" y="77889"/>
                  </a:lnTo>
                  <a:lnTo>
                    <a:pt x="547370" y="144640"/>
                  </a:lnTo>
                  <a:lnTo>
                    <a:pt x="548652" y="151003"/>
                  </a:lnTo>
                  <a:lnTo>
                    <a:pt x="552475" y="158953"/>
                  </a:lnTo>
                  <a:lnTo>
                    <a:pt x="557580" y="162128"/>
                  </a:lnTo>
                  <a:lnTo>
                    <a:pt x="565238" y="165315"/>
                  </a:lnTo>
                  <a:lnTo>
                    <a:pt x="575449" y="158953"/>
                  </a:lnTo>
                  <a:lnTo>
                    <a:pt x="579272" y="151003"/>
                  </a:lnTo>
                  <a:lnTo>
                    <a:pt x="580555" y="144640"/>
                  </a:lnTo>
                  <a:lnTo>
                    <a:pt x="580555" y="7311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449459" y="2086495"/>
              <a:ext cx="181178" cy="14940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602570" y="1871903"/>
              <a:ext cx="297815" cy="364490"/>
            </a:xfrm>
            <a:custGeom>
              <a:avLst/>
              <a:gdLst/>
              <a:ahLst/>
              <a:cxnLst/>
              <a:rect l="l" t="t" r="r" b="b"/>
              <a:pathLst>
                <a:path w="297814" h="364489">
                  <a:moveTo>
                    <a:pt x="292188" y="0"/>
                  </a:moveTo>
                  <a:lnTo>
                    <a:pt x="0" y="363994"/>
                  </a:lnTo>
                  <a:lnTo>
                    <a:pt x="19138" y="363994"/>
                  </a:lnTo>
                  <a:lnTo>
                    <a:pt x="292188" y="23850"/>
                  </a:lnTo>
                  <a:lnTo>
                    <a:pt x="292188" y="0"/>
                  </a:lnTo>
                  <a:close/>
                </a:path>
                <a:path w="297814" h="364489">
                  <a:moveTo>
                    <a:pt x="297294" y="57226"/>
                  </a:moveTo>
                  <a:lnTo>
                    <a:pt x="51028" y="363994"/>
                  </a:lnTo>
                  <a:lnTo>
                    <a:pt x="70167" y="363994"/>
                  </a:lnTo>
                  <a:lnTo>
                    <a:pt x="297294" y="81064"/>
                  </a:lnTo>
                  <a:lnTo>
                    <a:pt x="297294" y="5722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704640" y="1991118"/>
              <a:ext cx="195224" cy="24477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/>
          <p:nvPr/>
        </p:nvSpPr>
        <p:spPr>
          <a:xfrm>
            <a:off x="7900416" y="1682495"/>
            <a:ext cx="682751" cy="7132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10</a:t>
            </a:fld>
            <a:endParaRPr spc="-2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65936" y="1432661"/>
            <a:ext cx="11259820" cy="5425440"/>
            <a:chOff x="465936" y="1432661"/>
            <a:chExt cx="11259820" cy="5425440"/>
          </a:xfrm>
        </p:grpSpPr>
        <p:sp>
          <p:nvSpPr>
            <p:cNvPr id="3" name="object 3"/>
            <p:cNvSpPr/>
            <p:nvPr/>
          </p:nvSpPr>
          <p:spPr>
            <a:xfrm>
              <a:off x="10189463" y="6391655"/>
              <a:ext cx="1380744" cy="22555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9551467" y="1432661"/>
              <a:ext cx="2174278" cy="542533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11372" y="1492072"/>
              <a:ext cx="2062480" cy="5366385"/>
            </a:xfrm>
            <a:custGeom>
              <a:avLst/>
              <a:gdLst/>
              <a:ahLst/>
              <a:cxnLst/>
              <a:rect l="l" t="t" r="r" b="b"/>
              <a:pathLst>
                <a:path w="2062479" h="5366384">
                  <a:moveTo>
                    <a:pt x="1747646" y="0"/>
                  </a:moveTo>
                  <a:lnTo>
                    <a:pt x="314693" y="0"/>
                  </a:lnTo>
                  <a:lnTo>
                    <a:pt x="268190" y="3412"/>
                  </a:lnTo>
                  <a:lnTo>
                    <a:pt x="223806" y="13323"/>
                  </a:lnTo>
                  <a:lnTo>
                    <a:pt x="182026" y="29248"/>
                  </a:lnTo>
                  <a:lnTo>
                    <a:pt x="143339" y="50699"/>
                  </a:lnTo>
                  <a:lnTo>
                    <a:pt x="108231" y="77189"/>
                  </a:lnTo>
                  <a:lnTo>
                    <a:pt x="77189" y="108231"/>
                  </a:lnTo>
                  <a:lnTo>
                    <a:pt x="50699" y="143339"/>
                  </a:lnTo>
                  <a:lnTo>
                    <a:pt x="29248" y="182026"/>
                  </a:lnTo>
                  <a:lnTo>
                    <a:pt x="13323" y="223806"/>
                  </a:lnTo>
                  <a:lnTo>
                    <a:pt x="3412" y="268190"/>
                  </a:lnTo>
                  <a:lnTo>
                    <a:pt x="0" y="314693"/>
                  </a:lnTo>
                  <a:lnTo>
                    <a:pt x="0" y="5365927"/>
                  </a:lnTo>
                  <a:lnTo>
                    <a:pt x="2062327" y="5365927"/>
                  </a:lnTo>
                  <a:lnTo>
                    <a:pt x="2062327" y="314693"/>
                  </a:lnTo>
                  <a:lnTo>
                    <a:pt x="2058915" y="268190"/>
                  </a:lnTo>
                  <a:lnTo>
                    <a:pt x="2049003" y="223806"/>
                  </a:lnTo>
                  <a:lnTo>
                    <a:pt x="2033079" y="182026"/>
                  </a:lnTo>
                  <a:lnTo>
                    <a:pt x="2011628" y="143339"/>
                  </a:lnTo>
                  <a:lnTo>
                    <a:pt x="1985139" y="108231"/>
                  </a:lnTo>
                  <a:lnTo>
                    <a:pt x="1954097" y="77189"/>
                  </a:lnTo>
                  <a:lnTo>
                    <a:pt x="1918991" y="50699"/>
                  </a:lnTo>
                  <a:lnTo>
                    <a:pt x="1880305" y="29248"/>
                  </a:lnTo>
                  <a:lnTo>
                    <a:pt x="1838528" y="13323"/>
                  </a:lnTo>
                  <a:lnTo>
                    <a:pt x="1794146" y="3412"/>
                  </a:lnTo>
                  <a:lnTo>
                    <a:pt x="17476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289959" y="2253856"/>
              <a:ext cx="798830" cy="526415"/>
            </a:xfrm>
            <a:custGeom>
              <a:avLst/>
              <a:gdLst/>
              <a:ahLst/>
              <a:cxnLst/>
              <a:rect l="l" t="t" r="r" b="b"/>
              <a:pathLst>
                <a:path w="798829" h="526414">
                  <a:moveTo>
                    <a:pt x="287731" y="266674"/>
                  </a:moveTo>
                  <a:lnTo>
                    <a:pt x="268427" y="266674"/>
                  </a:lnTo>
                  <a:lnTo>
                    <a:pt x="259664" y="273697"/>
                  </a:lnTo>
                  <a:lnTo>
                    <a:pt x="0" y="526326"/>
                  </a:lnTo>
                  <a:lnTo>
                    <a:pt x="75450" y="526326"/>
                  </a:lnTo>
                  <a:lnTo>
                    <a:pt x="273697" y="331584"/>
                  </a:lnTo>
                  <a:lnTo>
                    <a:pt x="355110" y="331584"/>
                  </a:lnTo>
                  <a:lnTo>
                    <a:pt x="294754" y="273697"/>
                  </a:lnTo>
                  <a:lnTo>
                    <a:pt x="287731" y="266674"/>
                  </a:lnTo>
                  <a:close/>
                </a:path>
                <a:path w="798829" h="526414">
                  <a:moveTo>
                    <a:pt x="355110" y="331584"/>
                  </a:moveTo>
                  <a:lnTo>
                    <a:pt x="282473" y="331584"/>
                  </a:lnTo>
                  <a:lnTo>
                    <a:pt x="368439" y="417550"/>
                  </a:lnTo>
                  <a:lnTo>
                    <a:pt x="377202" y="421068"/>
                  </a:lnTo>
                  <a:lnTo>
                    <a:pt x="387731" y="424573"/>
                  </a:lnTo>
                  <a:lnTo>
                    <a:pt x="396506" y="421068"/>
                  </a:lnTo>
                  <a:lnTo>
                    <a:pt x="403529" y="417550"/>
                  </a:lnTo>
                  <a:lnTo>
                    <a:pt x="463799" y="357911"/>
                  </a:lnTo>
                  <a:lnTo>
                    <a:pt x="387731" y="357911"/>
                  </a:lnTo>
                  <a:lnTo>
                    <a:pt x="380720" y="356146"/>
                  </a:lnTo>
                  <a:lnTo>
                    <a:pt x="355110" y="331584"/>
                  </a:lnTo>
                  <a:close/>
                </a:path>
                <a:path w="798829" h="526414">
                  <a:moveTo>
                    <a:pt x="777214" y="0"/>
                  </a:moveTo>
                  <a:lnTo>
                    <a:pt x="633361" y="0"/>
                  </a:lnTo>
                  <a:lnTo>
                    <a:pt x="624586" y="3505"/>
                  </a:lnTo>
                  <a:lnTo>
                    <a:pt x="617562" y="7023"/>
                  </a:lnTo>
                  <a:lnTo>
                    <a:pt x="614057" y="12280"/>
                  </a:lnTo>
                  <a:lnTo>
                    <a:pt x="612305" y="17551"/>
                  </a:lnTo>
                  <a:lnTo>
                    <a:pt x="610552" y="24561"/>
                  </a:lnTo>
                  <a:lnTo>
                    <a:pt x="612305" y="31584"/>
                  </a:lnTo>
                  <a:lnTo>
                    <a:pt x="614057" y="36842"/>
                  </a:lnTo>
                  <a:lnTo>
                    <a:pt x="619315" y="42113"/>
                  </a:lnTo>
                  <a:lnTo>
                    <a:pt x="624586" y="43865"/>
                  </a:lnTo>
                  <a:lnTo>
                    <a:pt x="633361" y="47371"/>
                  </a:lnTo>
                  <a:lnTo>
                    <a:pt x="682485" y="47371"/>
                  </a:lnTo>
                  <a:lnTo>
                    <a:pt x="693000" y="50876"/>
                  </a:lnTo>
                  <a:lnTo>
                    <a:pt x="693000" y="56146"/>
                  </a:lnTo>
                  <a:lnTo>
                    <a:pt x="689495" y="61404"/>
                  </a:lnTo>
                  <a:lnTo>
                    <a:pt x="393001" y="356146"/>
                  </a:lnTo>
                  <a:lnTo>
                    <a:pt x="387731" y="357911"/>
                  </a:lnTo>
                  <a:lnTo>
                    <a:pt x="463799" y="357911"/>
                  </a:lnTo>
                  <a:lnTo>
                    <a:pt x="738619" y="85966"/>
                  </a:lnTo>
                  <a:lnTo>
                    <a:pt x="740371" y="82461"/>
                  </a:lnTo>
                  <a:lnTo>
                    <a:pt x="745642" y="80708"/>
                  </a:lnTo>
                  <a:lnTo>
                    <a:pt x="798271" y="80708"/>
                  </a:lnTo>
                  <a:lnTo>
                    <a:pt x="798271" y="22809"/>
                  </a:lnTo>
                  <a:lnTo>
                    <a:pt x="796518" y="15786"/>
                  </a:lnTo>
                  <a:lnTo>
                    <a:pt x="791248" y="7023"/>
                  </a:lnTo>
                  <a:lnTo>
                    <a:pt x="777214" y="0"/>
                  </a:lnTo>
                  <a:close/>
                </a:path>
                <a:path w="798829" h="526414">
                  <a:moveTo>
                    <a:pt x="798271" y="80708"/>
                  </a:moveTo>
                  <a:lnTo>
                    <a:pt x="745642" y="80708"/>
                  </a:lnTo>
                  <a:lnTo>
                    <a:pt x="747395" y="82461"/>
                  </a:lnTo>
                  <a:lnTo>
                    <a:pt x="752652" y="85966"/>
                  </a:lnTo>
                  <a:lnTo>
                    <a:pt x="752652" y="159651"/>
                  </a:lnTo>
                  <a:lnTo>
                    <a:pt x="754418" y="166674"/>
                  </a:lnTo>
                  <a:lnTo>
                    <a:pt x="759675" y="175450"/>
                  </a:lnTo>
                  <a:lnTo>
                    <a:pt x="766699" y="178955"/>
                  </a:lnTo>
                  <a:lnTo>
                    <a:pt x="777214" y="182460"/>
                  </a:lnTo>
                  <a:lnTo>
                    <a:pt x="791248" y="175450"/>
                  </a:lnTo>
                  <a:lnTo>
                    <a:pt x="796518" y="166674"/>
                  </a:lnTo>
                  <a:lnTo>
                    <a:pt x="798271" y="159651"/>
                  </a:lnTo>
                  <a:lnTo>
                    <a:pt x="798271" y="80708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0423296" y="2308250"/>
              <a:ext cx="171945" cy="24912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0602251" y="1901215"/>
              <a:ext cx="242112" cy="26141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0405757" y="2046833"/>
              <a:ext cx="300355" cy="488315"/>
            </a:xfrm>
            <a:custGeom>
              <a:avLst/>
              <a:gdLst/>
              <a:ahLst/>
              <a:cxnLst/>
              <a:rect l="l" t="t" r="r" b="b"/>
              <a:pathLst>
                <a:path w="300354" h="488314">
                  <a:moveTo>
                    <a:pt x="229831" y="57899"/>
                  </a:moveTo>
                  <a:lnTo>
                    <a:pt x="114033" y="57899"/>
                  </a:lnTo>
                  <a:lnTo>
                    <a:pt x="171932" y="59651"/>
                  </a:lnTo>
                  <a:lnTo>
                    <a:pt x="152628" y="64909"/>
                  </a:lnTo>
                  <a:lnTo>
                    <a:pt x="133337" y="140360"/>
                  </a:lnTo>
                  <a:lnTo>
                    <a:pt x="124561" y="178955"/>
                  </a:lnTo>
                  <a:lnTo>
                    <a:pt x="115785" y="212293"/>
                  </a:lnTo>
                  <a:lnTo>
                    <a:pt x="119303" y="214045"/>
                  </a:lnTo>
                  <a:lnTo>
                    <a:pt x="121056" y="217550"/>
                  </a:lnTo>
                  <a:lnTo>
                    <a:pt x="124561" y="219303"/>
                  </a:lnTo>
                  <a:lnTo>
                    <a:pt x="126314" y="222808"/>
                  </a:lnTo>
                  <a:lnTo>
                    <a:pt x="128066" y="229831"/>
                  </a:lnTo>
                  <a:lnTo>
                    <a:pt x="136842" y="243865"/>
                  </a:lnTo>
                  <a:lnTo>
                    <a:pt x="150875" y="257898"/>
                  </a:lnTo>
                  <a:lnTo>
                    <a:pt x="163156" y="264922"/>
                  </a:lnTo>
                  <a:lnTo>
                    <a:pt x="175437" y="273697"/>
                  </a:lnTo>
                  <a:lnTo>
                    <a:pt x="236842" y="338607"/>
                  </a:lnTo>
                  <a:lnTo>
                    <a:pt x="221056" y="452640"/>
                  </a:lnTo>
                  <a:lnTo>
                    <a:pt x="221056" y="466686"/>
                  </a:lnTo>
                  <a:lnTo>
                    <a:pt x="226314" y="475449"/>
                  </a:lnTo>
                  <a:lnTo>
                    <a:pt x="233337" y="485978"/>
                  </a:lnTo>
                  <a:lnTo>
                    <a:pt x="245618" y="487730"/>
                  </a:lnTo>
                  <a:lnTo>
                    <a:pt x="256146" y="487730"/>
                  </a:lnTo>
                  <a:lnTo>
                    <a:pt x="268427" y="484225"/>
                  </a:lnTo>
                  <a:lnTo>
                    <a:pt x="277202" y="473697"/>
                  </a:lnTo>
                  <a:lnTo>
                    <a:pt x="280708" y="461416"/>
                  </a:lnTo>
                  <a:lnTo>
                    <a:pt x="300012" y="326326"/>
                  </a:lnTo>
                  <a:lnTo>
                    <a:pt x="298246" y="315798"/>
                  </a:lnTo>
                  <a:lnTo>
                    <a:pt x="292989" y="307022"/>
                  </a:lnTo>
                  <a:lnTo>
                    <a:pt x="259651" y="268427"/>
                  </a:lnTo>
                  <a:lnTo>
                    <a:pt x="229831" y="231584"/>
                  </a:lnTo>
                  <a:lnTo>
                    <a:pt x="235089" y="200012"/>
                  </a:lnTo>
                  <a:lnTo>
                    <a:pt x="242112" y="171932"/>
                  </a:lnTo>
                  <a:lnTo>
                    <a:pt x="256146" y="122809"/>
                  </a:lnTo>
                  <a:lnTo>
                    <a:pt x="262576" y="103517"/>
                  </a:lnTo>
                  <a:lnTo>
                    <a:pt x="252641" y="103517"/>
                  </a:lnTo>
                  <a:lnTo>
                    <a:pt x="252641" y="85966"/>
                  </a:lnTo>
                  <a:lnTo>
                    <a:pt x="229831" y="85966"/>
                  </a:lnTo>
                  <a:lnTo>
                    <a:pt x="229831" y="57899"/>
                  </a:lnTo>
                  <a:close/>
                </a:path>
                <a:path w="300354" h="488314">
                  <a:moveTo>
                    <a:pt x="189483" y="0"/>
                  </a:moveTo>
                  <a:lnTo>
                    <a:pt x="96494" y="8775"/>
                  </a:lnTo>
                  <a:lnTo>
                    <a:pt x="54381" y="43865"/>
                  </a:lnTo>
                  <a:lnTo>
                    <a:pt x="10528" y="73685"/>
                  </a:lnTo>
                  <a:lnTo>
                    <a:pt x="3505" y="82461"/>
                  </a:lnTo>
                  <a:lnTo>
                    <a:pt x="0" y="91236"/>
                  </a:lnTo>
                  <a:lnTo>
                    <a:pt x="3505" y="101765"/>
                  </a:lnTo>
                  <a:lnTo>
                    <a:pt x="7023" y="110528"/>
                  </a:lnTo>
                  <a:lnTo>
                    <a:pt x="15786" y="115798"/>
                  </a:lnTo>
                  <a:lnTo>
                    <a:pt x="24561" y="117551"/>
                  </a:lnTo>
                  <a:lnTo>
                    <a:pt x="35090" y="117551"/>
                  </a:lnTo>
                  <a:lnTo>
                    <a:pt x="43853" y="114046"/>
                  </a:lnTo>
                  <a:lnTo>
                    <a:pt x="77190" y="84213"/>
                  </a:lnTo>
                  <a:lnTo>
                    <a:pt x="114033" y="57899"/>
                  </a:lnTo>
                  <a:lnTo>
                    <a:pt x="229831" y="57899"/>
                  </a:lnTo>
                  <a:lnTo>
                    <a:pt x="229831" y="47371"/>
                  </a:lnTo>
                  <a:lnTo>
                    <a:pt x="226314" y="21056"/>
                  </a:lnTo>
                  <a:lnTo>
                    <a:pt x="217550" y="7023"/>
                  </a:lnTo>
                  <a:lnTo>
                    <a:pt x="215798" y="1752"/>
                  </a:lnTo>
                  <a:lnTo>
                    <a:pt x="214033" y="1752"/>
                  </a:lnTo>
                  <a:lnTo>
                    <a:pt x="189483" y="0"/>
                  </a:lnTo>
                  <a:close/>
                </a:path>
                <a:path w="300354" h="488314">
                  <a:moveTo>
                    <a:pt x="266674" y="31584"/>
                  </a:moveTo>
                  <a:lnTo>
                    <a:pt x="264922" y="35090"/>
                  </a:lnTo>
                  <a:lnTo>
                    <a:pt x="261404" y="63157"/>
                  </a:lnTo>
                  <a:lnTo>
                    <a:pt x="256146" y="84213"/>
                  </a:lnTo>
                  <a:lnTo>
                    <a:pt x="252641" y="103517"/>
                  </a:lnTo>
                  <a:lnTo>
                    <a:pt x="262576" y="103517"/>
                  </a:lnTo>
                  <a:lnTo>
                    <a:pt x="268427" y="85966"/>
                  </a:lnTo>
                  <a:lnTo>
                    <a:pt x="273684" y="77203"/>
                  </a:lnTo>
                  <a:lnTo>
                    <a:pt x="277202" y="70180"/>
                  </a:lnTo>
                  <a:lnTo>
                    <a:pt x="273684" y="50876"/>
                  </a:lnTo>
                  <a:lnTo>
                    <a:pt x="268427" y="38595"/>
                  </a:lnTo>
                  <a:lnTo>
                    <a:pt x="266674" y="31584"/>
                  </a:lnTo>
                  <a:close/>
                </a:path>
                <a:path w="300354" h="488314">
                  <a:moveTo>
                    <a:pt x="247370" y="19303"/>
                  </a:moveTo>
                  <a:lnTo>
                    <a:pt x="236842" y="28066"/>
                  </a:lnTo>
                  <a:lnTo>
                    <a:pt x="242112" y="40347"/>
                  </a:lnTo>
                  <a:lnTo>
                    <a:pt x="236842" y="54394"/>
                  </a:lnTo>
                  <a:lnTo>
                    <a:pt x="229831" y="85966"/>
                  </a:lnTo>
                  <a:lnTo>
                    <a:pt x="252641" y="85966"/>
                  </a:lnTo>
                  <a:lnTo>
                    <a:pt x="252641" y="43865"/>
                  </a:lnTo>
                  <a:lnTo>
                    <a:pt x="256146" y="33337"/>
                  </a:lnTo>
                  <a:lnTo>
                    <a:pt x="252641" y="21056"/>
                  </a:lnTo>
                  <a:lnTo>
                    <a:pt x="247370" y="19303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0409262" y="2615272"/>
              <a:ext cx="249135" cy="16490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0619804" y="2378417"/>
              <a:ext cx="408940" cy="401955"/>
            </a:xfrm>
            <a:custGeom>
              <a:avLst/>
              <a:gdLst/>
              <a:ahLst/>
              <a:cxnLst/>
              <a:rect l="l" t="t" r="r" b="b"/>
              <a:pathLst>
                <a:path w="408940" h="401955">
                  <a:moveTo>
                    <a:pt x="401764" y="0"/>
                  </a:moveTo>
                  <a:lnTo>
                    <a:pt x="0" y="401764"/>
                  </a:lnTo>
                  <a:lnTo>
                    <a:pt x="26314" y="401764"/>
                  </a:lnTo>
                  <a:lnTo>
                    <a:pt x="401764" y="26327"/>
                  </a:lnTo>
                  <a:lnTo>
                    <a:pt x="401764" y="0"/>
                  </a:lnTo>
                  <a:close/>
                </a:path>
                <a:path w="408940" h="401955">
                  <a:moveTo>
                    <a:pt x="408774" y="131584"/>
                  </a:moveTo>
                  <a:lnTo>
                    <a:pt x="140347" y="401764"/>
                  </a:lnTo>
                  <a:lnTo>
                    <a:pt x="166662" y="401764"/>
                  </a:lnTo>
                  <a:lnTo>
                    <a:pt x="408774" y="159664"/>
                  </a:lnTo>
                  <a:lnTo>
                    <a:pt x="408774" y="131584"/>
                  </a:lnTo>
                  <a:close/>
                </a:path>
                <a:path w="408940" h="401955">
                  <a:moveTo>
                    <a:pt x="408774" y="63157"/>
                  </a:moveTo>
                  <a:lnTo>
                    <a:pt x="70167" y="401764"/>
                  </a:lnTo>
                  <a:lnTo>
                    <a:pt x="96481" y="401764"/>
                  </a:lnTo>
                  <a:lnTo>
                    <a:pt x="408774" y="89484"/>
                  </a:lnTo>
                  <a:lnTo>
                    <a:pt x="408774" y="63157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0830331" y="2580182"/>
              <a:ext cx="198247" cy="19999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008702" y="1432661"/>
              <a:ext cx="2174278" cy="542533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061584" y="1492072"/>
              <a:ext cx="2062480" cy="5366385"/>
            </a:xfrm>
            <a:custGeom>
              <a:avLst/>
              <a:gdLst/>
              <a:ahLst/>
              <a:cxnLst/>
              <a:rect l="l" t="t" r="r" b="b"/>
              <a:pathLst>
                <a:path w="2062479" h="5366384">
                  <a:moveTo>
                    <a:pt x="1757311" y="0"/>
                  </a:moveTo>
                  <a:lnTo>
                    <a:pt x="305028" y="0"/>
                  </a:lnTo>
                  <a:lnTo>
                    <a:pt x="255550" y="3992"/>
                  </a:lnTo>
                  <a:lnTo>
                    <a:pt x="208614" y="15550"/>
                  </a:lnTo>
                  <a:lnTo>
                    <a:pt x="164849" y="34045"/>
                  </a:lnTo>
                  <a:lnTo>
                    <a:pt x="124881" y="58851"/>
                  </a:lnTo>
                  <a:lnTo>
                    <a:pt x="89339" y="89338"/>
                  </a:lnTo>
                  <a:lnTo>
                    <a:pt x="58852" y="124878"/>
                  </a:lnTo>
                  <a:lnTo>
                    <a:pt x="34046" y="164844"/>
                  </a:lnTo>
                  <a:lnTo>
                    <a:pt x="15550" y="208608"/>
                  </a:lnTo>
                  <a:lnTo>
                    <a:pt x="3992" y="255541"/>
                  </a:lnTo>
                  <a:lnTo>
                    <a:pt x="0" y="305015"/>
                  </a:lnTo>
                  <a:lnTo>
                    <a:pt x="0" y="5365927"/>
                  </a:lnTo>
                  <a:lnTo>
                    <a:pt x="2062327" y="5365927"/>
                  </a:lnTo>
                  <a:lnTo>
                    <a:pt x="2062327" y="305015"/>
                  </a:lnTo>
                  <a:lnTo>
                    <a:pt x="2058335" y="255541"/>
                  </a:lnTo>
                  <a:lnTo>
                    <a:pt x="2046777" y="208608"/>
                  </a:lnTo>
                  <a:lnTo>
                    <a:pt x="2028281" y="164844"/>
                  </a:lnTo>
                  <a:lnTo>
                    <a:pt x="2003476" y="124878"/>
                  </a:lnTo>
                  <a:lnTo>
                    <a:pt x="1972989" y="89338"/>
                  </a:lnTo>
                  <a:lnTo>
                    <a:pt x="1937448" y="58851"/>
                  </a:lnTo>
                  <a:lnTo>
                    <a:pt x="1897482" y="34045"/>
                  </a:lnTo>
                  <a:lnTo>
                    <a:pt x="1853719" y="15550"/>
                  </a:lnTo>
                  <a:lnTo>
                    <a:pt x="1806786" y="3992"/>
                  </a:lnTo>
                  <a:lnTo>
                    <a:pt x="17573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751906" y="1898078"/>
              <a:ext cx="778510" cy="905510"/>
            </a:xfrm>
            <a:custGeom>
              <a:avLst/>
              <a:gdLst/>
              <a:ahLst/>
              <a:cxnLst/>
              <a:rect l="l" t="t" r="r" b="b"/>
              <a:pathLst>
                <a:path w="778509" h="905510">
                  <a:moveTo>
                    <a:pt x="133553" y="225894"/>
                  </a:moveTo>
                  <a:lnTo>
                    <a:pt x="89027" y="225894"/>
                  </a:lnTo>
                  <a:lnTo>
                    <a:pt x="80784" y="227545"/>
                  </a:lnTo>
                  <a:lnTo>
                    <a:pt x="77495" y="230847"/>
                  </a:lnTo>
                  <a:lnTo>
                    <a:pt x="72542" y="237439"/>
                  </a:lnTo>
                  <a:lnTo>
                    <a:pt x="72542" y="248983"/>
                  </a:lnTo>
                  <a:lnTo>
                    <a:pt x="77495" y="252285"/>
                  </a:lnTo>
                  <a:lnTo>
                    <a:pt x="80784" y="257225"/>
                  </a:lnTo>
                  <a:lnTo>
                    <a:pt x="133553" y="257225"/>
                  </a:lnTo>
                  <a:lnTo>
                    <a:pt x="131902" y="248983"/>
                  </a:lnTo>
                  <a:lnTo>
                    <a:pt x="133553" y="225894"/>
                  </a:lnTo>
                  <a:close/>
                </a:path>
                <a:path w="778509" h="905510">
                  <a:moveTo>
                    <a:pt x="186321" y="390779"/>
                  </a:moveTo>
                  <a:lnTo>
                    <a:pt x="164884" y="366052"/>
                  </a:lnTo>
                  <a:lnTo>
                    <a:pt x="143446" y="389140"/>
                  </a:lnTo>
                  <a:lnTo>
                    <a:pt x="138493" y="395732"/>
                  </a:lnTo>
                  <a:lnTo>
                    <a:pt x="138493" y="407276"/>
                  </a:lnTo>
                  <a:lnTo>
                    <a:pt x="143446" y="412216"/>
                  </a:lnTo>
                  <a:lnTo>
                    <a:pt x="146748" y="417169"/>
                  </a:lnTo>
                  <a:lnTo>
                    <a:pt x="158280" y="417169"/>
                  </a:lnTo>
                  <a:lnTo>
                    <a:pt x="164884" y="412216"/>
                  </a:lnTo>
                  <a:lnTo>
                    <a:pt x="186321" y="390779"/>
                  </a:lnTo>
                  <a:close/>
                </a:path>
                <a:path w="778509" h="905510">
                  <a:moveTo>
                    <a:pt x="197853" y="105524"/>
                  </a:moveTo>
                  <a:lnTo>
                    <a:pt x="164884" y="70904"/>
                  </a:lnTo>
                  <a:lnTo>
                    <a:pt x="158280" y="69253"/>
                  </a:lnTo>
                  <a:lnTo>
                    <a:pt x="154990" y="65951"/>
                  </a:lnTo>
                  <a:lnTo>
                    <a:pt x="146748" y="69253"/>
                  </a:lnTo>
                  <a:lnTo>
                    <a:pt x="143446" y="70904"/>
                  </a:lnTo>
                  <a:lnTo>
                    <a:pt x="138493" y="77495"/>
                  </a:lnTo>
                  <a:lnTo>
                    <a:pt x="138493" y="89039"/>
                  </a:lnTo>
                  <a:lnTo>
                    <a:pt x="143446" y="93992"/>
                  </a:lnTo>
                  <a:lnTo>
                    <a:pt x="174777" y="126961"/>
                  </a:lnTo>
                  <a:lnTo>
                    <a:pt x="186321" y="117068"/>
                  </a:lnTo>
                  <a:lnTo>
                    <a:pt x="197853" y="105524"/>
                  </a:lnTo>
                  <a:close/>
                </a:path>
                <a:path w="778509" h="905510">
                  <a:moveTo>
                    <a:pt x="329768" y="16497"/>
                  </a:moveTo>
                  <a:lnTo>
                    <a:pt x="326466" y="11544"/>
                  </a:lnTo>
                  <a:lnTo>
                    <a:pt x="324815" y="4953"/>
                  </a:lnTo>
                  <a:lnTo>
                    <a:pt x="318223" y="3302"/>
                  </a:lnTo>
                  <a:lnTo>
                    <a:pt x="313283" y="0"/>
                  </a:lnTo>
                  <a:lnTo>
                    <a:pt x="306679" y="3302"/>
                  </a:lnTo>
                  <a:lnTo>
                    <a:pt x="301739" y="4953"/>
                  </a:lnTo>
                  <a:lnTo>
                    <a:pt x="296786" y="11544"/>
                  </a:lnTo>
                  <a:lnTo>
                    <a:pt x="296786" y="61010"/>
                  </a:lnTo>
                  <a:lnTo>
                    <a:pt x="311632" y="59359"/>
                  </a:lnTo>
                  <a:lnTo>
                    <a:pt x="313283" y="59359"/>
                  </a:lnTo>
                  <a:lnTo>
                    <a:pt x="329768" y="61010"/>
                  </a:lnTo>
                  <a:lnTo>
                    <a:pt x="329768" y="59359"/>
                  </a:lnTo>
                  <a:lnTo>
                    <a:pt x="329768" y="16497"/>
                  </a:lnTo>
                  <a:close/>
                </a:path>
                <a:path w="778509" h="905510">
                  <a:moveTo>
                    <a:pt x="336359" y="168186"/>
                  </a:moveTo>
                  <a:lnTo>
                    <a:pt x="334721" y="164884"/>
                  </a:lnTo>
                  <a:lnTo>
                    <a:pt x="329768" y="161594"/>
                  </a:lnTo>
                  <a:lnTo>
                    <a:pt x="323176" y="159943"/>
                  </a:lnTo>
                  <a:lnTo>
                    <a:pt x="301739" y="159943"/>
                  </a:lnTo>
                  <a:lnTo>
                    <a:pt x="293497" y="161594"/>
                  </a:lnTo>
                  <a:lnTo>
                    <a:pt x="290195" y="164884"/>
                  </a:lnTo>
                  <a:lnTo>
                    <a:pt x="288544" y="174777"/>
                  </a:lnTo>
                  <a:lnTo>
                    <a:pt x="293497" y="324827"/>
                  </a:lnTo>
                  <a:lnTo>
                    <a:pt x="295148" y="339674"/>
                  </a:lnTo>
                  <a:lnTo>
                    <a:pt x="300088" y="341312"/>
                  </a:lnTo>
                  <a:lnTo>
                    <a:pt x="319874" y="341312"/>
                  </a:lnTo>
                  <a:lnTo>
                    <a:pt x="324827" y="339674"/>
                  </a:lnTo>
                  <a:lnTo>
                    <a:pt x="329768" y="339674"/>
                  </a:lnTo>
                  <a:lnTo>
                    <a:pt x="331419" y="334721"/>
                  </a:lnTo>
                  <a:lnTo>
                    <a:pt x="331419" y="324827"/>
                  </a:lnTo>
                  <a:lnTo>
                    <a:pt x="336359" y="174777"/>
                  </a:lnTo>
                  <a:lnTo>
                    <a:pt x="336359" y="168186"/>
                  </a:lnTo>
                  <a:close/>
                </a:path>
                <a:path w="778509" h="905510">
                  <a:moveTo>
                    <a:pt x="341312" y="380885"/>
                  </a:moveTo>
                  <a:lnTo>
                    <a:pt x="338010" y="372643"/>
                  </a:lnTo>
                  <a:lnTo>
                    <a:pt x="338010" y="369354"/>
                  </a:lnTo>
                  <a:lnTo>
                    <a:pt x="290195" y="369354"/>
                  </a:lnTo>
                  <a:lnTo>
                    <a:pt x="286893" y="370992"/>
                  </a:lnTo>
                  <a:lnTo>
                    <a:pt x="283603" y="380885"/>
                  </a:lnTo>
                  <a:lnTo>
                    <a:pt x="283603" y="399034"/>
                  </a:lnTo>
                  <a:lnTo>
                    <a:pt x="286893" y="408927"/>
                  </a:lnTo>
                  <a:lnTo>
                    <a:pt x="290195" y="412216"/>
                  </a:lnTo>
                  <a:lnTo>
                    <a:pt x="334721" y="412216"/>
                  </a:lnTo>
                  <a:lnTo>
                    <a:pt x="338010" y="408927"/>
                  </a:lnTo>
                  <a:lnTo>
                    <a:pt x="341312" y="399034"/>
                  </a:lnTo>
                  <a:lnTo>
                    <a:pt x="341312" y="380885"/>
                  </a:lnTo>
                  <a:close/>
                </a:path>
                <a:path w="778509" h="905510">
                  <a:moveTo>
                    <a:pt x="374294" y="509498"/>
                  </a:moveTo>
                  <a:lnTo>
                    <a:pt x="372643" y="502907"/>
                  </a:lnTo>
                  <a:lnTo>
                    <a:pt x="362750" y="493014"/>
                  </a:lnTo>
                  <a:lnTo>
                    <a:pt x="260515" y="493014"/>
                  </a:lnTo>
                  <a:lnTo>
                    <a:pt x="257213" y="497954"/>
                  </a:lnTo>
                  <a:lnTo>
                    <a:pt x="252272" y="502907"/>
                  </a:lnTo>
                  <a:lnTo>
                    <a:pt x="252272" y="509498"/>
                  </a:lnTo>
                  <a:lnTo>
                    <a:pt x="283603" y="525995"/>
                  </a:lnTo>
                  <a:lnTo>
                    <a:pt x="347903" y="525995"/>
                  </a:lnTo>
                  <a:lnTo>
                    <a:pt x="372643" y="512800"/>
                  </a:lnTo>
                  <a:lnTo>
                    <a:pt x="374294" y="509498"/>
                  </a:lnTo>
                  <a:close/>
                </a:path>
                <a:path w="778509" h="905510">
                  <a:moveTo>
                    <a:pt x="473214" y="250634"/>
                  </a:moveTo>
                  <a:lnTo>
                    <a:pt x="469925" y="225894"/>
                  </a:lnTo>
                  <a:lnTo>
                    <a:pt x="463321" y="201168"/>
                  </a:lnTo>
                  <a:lnTo>
                    <a:pt x="455079" y="178079"/>
                  </a:lnTo>
                  <a:lnTo>
                    <a:pt x="448487" y="165849"/>
                  </a:lnTo>
                  <a:lnTo>
                    <a:pt x="448487" y="250634"/>
                  </a:lnTo>
                  <a:lnTo>
                    <a:pt x="445185" y="267119"/>
                  </a:lnTo>
                  <a:lnTo>
                    <a:pt x="436943" y="305041"/>
                  </a:lnTo>
                  <a:lnTo>
                    <a:pt x="402323" y="354507"/>
                  </a:lnTo>
                  <a:lnTo>
                    <a:pt x="385826" y="375945"/>
                  </a:lnTo>
                  <a:lnTo>
                    <a:pt x="377583" y="387489"/>
                  </a:lnTo>
                  <a:lnTo>
                    <a:pt x="374294" y="399021"/>
                  </a:lnTo>
                  <a:lnTo>
                    <a:pt x="370992" y="425411"/>
                  </a:lnTo>
                  <a:lnTo>
                    <a:pt x="370992" y="448487"/>
                  </a:lnTo>
                  <a:lnTo>
                    <a:pt x="366039" y="453440"/>
                  </a:lnTo>
                  <a:lnTo>
                    <a:pt x="362750" y="455091"/>
                  </a:lnTo>
                  <a:lnTo>
                    <a:pt x="263817" y="455091"/>
                  </a:lnTo>
                  <a:lnTo>
                    <a:pt x="258864" y="453440"/>
                  </a:lnTo>
                  <a:lnTo>
                    <a:pt x="257213" y="448487"/>
                  </a:lnTo>
                  <a:lnTo>
                    <a:pt x="253923" y="443547"/>
                  </a:lnTo>
                  <a:lnTo>
                    <a:pt x="253923" y="425411"/>
                  </a:lnTo>
                  <a:lnTo>
                    <a:pt x="252272" y="399021"/>
                  </a:lnTo>
                  <a:lnTo>
                    <a:pt x="247319" y="389128"/>
                  </a:lnTo>
                  <a:lnTo>
                    <a:pt x="245681" y="382536"/>
                  </a:lnTo>
                  <a:lnTo>
                    <a:pt x="235788" y="370992"/>
                  </a:lnTo>
                  <a:lnTo>
                    <a:pt x="224243" y="359460"/>
                  </a:lnTo>
                  <a:lnTo>
                    <a:pt x="209397" y="341312"/>
                  </a:lnTo>
                  <a:lnTo>
                    <a:pt x="202806" y="329780"/>
                  </a:lnTo>
                  <a:lnTo>
                    <a:pt x="192913" y="318236"/>
                  </a:lnTo>
                  <a:lnTo>
                    <a:pt x="187960" y="305041"/>
                  </a:lnTo>
                  <a:lnTo>
                    <a:pt x="184670" y="288556"/>
                  </a:lnTo>
                  <a:lnTo>
                    <a:pt x="179717" y="270421"/>
                  </a:lnTo>
                  <a:lnTo>
                    <a:pt x="179717" y="227545"/>
                  </a:lnTo>
                  <a:lnTo>
                    <a:pt x="186321" y="207759"/>
                  </a:lnTo>
                  <a:lnTo>
                    <a:pt x="192913" y="186321"/>
                  </a:lnTo>
                  <a:lnTo>
                    <a:pt x="204457" y="168186"/>
                  </a:lnTo>
                  <a:lnTo>
                    <a:pt x="220941" y="153339"/>
                  </a:lnTo>
                  <a:lnTo>
                    <a:pt x="235788" y="138506"/>
                  </a:lnTo>
                  <a:lnTo>
                    <a:pt x="275361" y="120370"/>
                  </a:lnTo>
                  <a:lnTo>
                    <a:pt x="276999" y="120370"/>
                  </a:lnTo>
                  <a:lnTo>
                    <a:pt x="296786" y="117068"/>
                  </a:lnTo>
                  <a:lnTo>
                    <a:pt x="326466" y="117068"/>
                  </a:lnTo>
                  <a:lnTo>
                    <a:pt x="347903" y="120370"/>
                  </a:lnTo>
                  <a:lnTo>
                    <a:pt x="349554" y="120370"/>
                  </a:lnTo>
                  <a:lnTo>
                    <a:pt x="389128" y="138506"/>
                  </a:lnTo>
                  <a:lnTo>
                    <a:pt x="403974" y="153339"/>
                  </a:lnTo>
                  <a:lnTo>
                    <a:pt x="420458" y="168186"/>
                  </a:lnTo>
                  <a:lnTo>
                    <a:pt x="432003" y="186321"/>
                  </a:lnTo>
                  <a:lnTo>
                    <a:pt x="438594" y="207759"/>
                  </a:lnTo>
                  <a:lnTo>
                    <a:pt x="445185" y="227545"/>
                  </a:lnTo>
                  <a:lnTo>
                    <a:pt x="448487" y="250634"/>
                  </a:lnTo>
                  <a:lnTo>
                    <a:pt x="448487" y="165849"/>
                  </a:lnTo>
                  <a:lnTo>
                    <a:pt x="443534" y="156641"/>
                  </a:lnTo>
                  <a:lnTo>
                    <a:pt x="427050" y="138506"/>
                  </a:lnTo>
                  <a:lnTo>
                    <a:pt x="408914" y="123672"/>
                  </a:lnTo>
                  <a:lnTo>
                    <a:pt x="398538" y="117068"/>
                  </a:lnTo>
                  <a:lnTo>
                    <a:pt x="390779" y="112128"/>
                  </a:lnTo>
                  <a:lnTo>
                    <a:pt x="367690" y="100584"/>
                  </a:lnTo>
                  <a:lnTo>
                    <a:pt x="359448" y="95631"/>
                  </a:lnTo>
                  <a:lnTo>
                    <a:pt x="331419" y="90970"/>
                  </a:lnTo>
                  <a:lnTo>
                    <a:pt x="331419" y="90690"/>
                  </a:lnTo>
                  <a:lnTo>
                    <a:pt x="329768" y="90690"/>
                  </a:lnTo>
                  <a:lnTo>
                    <a:pt x="296786" y="90690"/>
                  </a:lnTo>
                  <a:lnTo>
                    <a:pt x="295148" y="90690"/>
                  </a:lnTo>
                  <a:lnTo>
                    <a:pt x="268757" y="95631"/>
                  </a:lnTo>
                  <a:lnTo>
                    <a:pt x="234137" y="112128"/>
                  </a:lnTo>
                  <a:lnTo>
                    <a:pt x="197853" y="138506"/>
                  </a:lnTo>
                  <a:lnTo>
                    <a:pt x="169824" y="178079"/>
                  </a:lnTo>
                  <a:lnTo>
                    <a:pt x="154990" y="225894"/>
                  </a:lnTo>
                  <a:lnTo>
                    <a:pt x="151688" y="250634"/>
                  </a:lnTo>
                  <a:lnTo>
                    <a:pt x="154990" y="268770"/>
                  </a:lnTo>
                  <a:lnTo>
                    <a:pt x="156641" y="286905"/>
                  </a:lnTo>
                  <a:lnTo>
                    <a:pt x="158280" y="300101"/>
                  </a:lnTo>
                  <a:lnTo>
                    <a:pt x="163233" y="316585"/>
                  </a:lnTo>
                  <a:lnTo>
                    <a:pt x="173126" y="334721"/>
                  </a:lnTo>
                  <a:lnTo>
                    <a:pt x="184670" y="347916"/>
                  </a:lnTo>
                  <a:lnTo>
                    <a:pt x="204457" y="372643"/>
                  </a:lnTo>
                  <a:lnTo>
                    <a:pt x="220941" y="390779"/>
                  </a:lnTo>
                  <a:lnTo>
                    <a:pt x="224243" y="399021"/>
                  </a:lnTo>
                  <a:lnTo>
                    <a:pt x="227533" y="402323"/>
                  </a:lnTo>
                  <a:lnTo>
                    <a:pt x="229184" y="425411"/>
                  </a:lnTo>
                  <a:lnTo>
                    <a:pt x="229184" y="450138"/>
                  </a:lnTo>
                  <a:lnTo>
                    <a:pt x="230835" y="456742"/>
                  </a:lnTo>
                  <a:lnTo>
                    <a:pt x="258864" y="479818"/>
                  </a:lnTo>
                  <a:lnTo>
                    <a:pt x="366039" y="479818"/>
                  </a:lnTo>
                  <a:lnTo>
                    <a:pt x="392430" y="456742"/>
                  </a:lnTo>
                  <a:lnTo>
                    <a:pt x="393242" y="455091"/>
                  </a:lnTo>
                  <a:lnTo>
                    <a:pt x="395719" y="450138"/>
                  </a:lnTo>
                  <a:lnTo>
                    <a:pt x="395719" y="425411"/>
                  </a:lnTo>
                  <a:lnTo>
                    <a:pt x="397370" y="402323"/>
                  </a:lnTo>
                  <a:lnTo>
                    <a:pt x="402323" y="395732"/>
                  </a:lnTo>
                  <a:lnTo>
                    <a:pt x="408914" y="387489"/>
                  </a:lnTo>
                  <a:lnTo>
                    <a:pt x="418807" y="375945"/>
                  </a:lnTo>
                  <a:lnTo>
                    <a:pt x="436943" y="357809"/>
                  </a:lnTo>
                  <a:lnTo>
                    <a:pt x="445185" y="346265"/>
                  </a:lnTo>
                  <a:lnTo>
                    <a:pt x="455079" y="329780"/>
                  </a:lnTo>
                  <a:lnTo>
                    <a:pt x="461683" y="314934"/>
                  </a:lnTo>
                  <a:lnTo>
                    <a:pt x="466623" y="296799"/>
                  </a:lnTo>
                  <a:lnTo>
                    <a:pt x="469925" y="275361"/>
                  </a:lnTo>
                  <a:lnTo>
                    <a:pt x="473214" y="250634"/>
                  </a:lnTo>
                  <a:close/>
                </a:path>
                <a:path w="778509" h="905510">
                  <a:moveTo>
                    <a:pt x="488061" y="400672"/>
                  </a:moveTo>
                  <a:lnTo>
                    <a:pt x="486410" y="395732"/>
                  </a:lnTo>
                  <a:lnTo>
                    <a:pt x="481469" y="389140"/>
                  </a:lnTo>
                  <a:lnTo>
                    <a:pt x="458381" y="366052"/>
                  </a:lnTo>
                  <a:lnTo>
                    <a:pt x="438594" y="390779"/>
                  </a:lnTo>
                  <a:lnTo>
                    <a:pt x="461683" y="412216"/>
                  </a:lnTo>
                  <a:lnTo>
                    <a:pt x="466623" y="417169"/>
                  </a:lnTo>
                  <a:lnTo>
                    <a:pt x="476516" y="417169"/>
                  </a:lnTo>
                  <a:lnTo>
                    <a:pt x="486410" y="407276"/>
                  </a:lnTo>
                  <a:lnTo>
                    <a:pt x="488061" y="400672"/>
                  </a:lnTo>
                  <a:close/>
                </a:path>
                <a:path w="778509" h="905510">
                  <a:moveTo>
                    <a:pt x="488061" y="82448"/>
                  </a:moveTo>
                  <a:lnTo>
                    <a:pt x="486410" y="77495"/>
                  </a:lnTo>
                  <a:lnTo>
                    <a:pt x="481469" y="70904"/>
                  </a:lnTo>
                  <a:lnTo>
                    <a:pt x="476516" y="69253"/>
                  </a:lnTo>
                  <a:lnTo>
                    <a:pt x="473214" y="65951"/>
                  </a:lnTo>
                  <a:lnTo>
                    <a:pt x="466623" y="69253"/>
                  </a:lnTo>
                  <a:lnTo>
                    <a:pt x="461683" y="70904"/>
                  </a:lnTo>
                  <a:lnTo>
                    <a:pt x="427050" y="105524"/>
                  </a:lnTo>
                  <a:lnTo>
                    <a:pt x="438594" y="117068"/>
                  </a:lnTo>
                  <a:lnTo>
                    <a:pt x="450138" y="126961"/>
                  </a:lnTo>
                  <a:lnTo>
                    <a:pt x="481469" y="93992"/>
                  </a:lnTo>
                  <a:lnTo>
                    <a:pt x="486410" y="89039"/>
                  </a:lnTo>
                  <a:lnTo>
                    <a:pt x="488061" y="82448"/>
                  </a:lnTo>
                  <a:close/>
                </a:path>
                <a:path w="778509" h="905510">
                  <a:moveTo>
                    <a:pt x="554012" y="240741"/>
                  </a:moveTo>
                  <a:lnTo>
                    <a:pt x="552361" y="237439"/>
                  </a:lnTo>
                  <a:lnTo>
                    <a:pt x="547420" y="230847"/>
                  </a:lnTo>
                  <a:lnTo>
                    <a:pt x="542467" y="227545"/>
                  </a:lnTo>
                  <a:lnTo>
                    <a:pt x="535876" y="225894"/>
                  </a:lnTo>
                  <a:lnTo>
                    <a:pt x="491363" y="225894"/>
                  </a:lnTo>
                  <a:lnTo>
                    <a:pt x="493001" y="248983"/>
                  </a:lnTo>
                  <a:lnTo>
                    <a:pt x="493001" y="257225"/>
                  </a:lnTo>
                  <a:lnTo>
                    <a:pt x="542467" y="257225"/>
                  </a:lnTo>
                  <a:lnTo>
                    <a:pt x="547420" y="252285"/>
                  </a:lnTo>
                  <a:lnTo>
                    <a:pt x="552361" y="248983"/>
                  </a:lnTo>
                  <a:lnTo>
                    <a:pt x="554012" y="240741"/>
                  </a:lnTo>
                  <a:close/>
                </a:path>
                <a:path w="778509" h="905510">
                  <a:moveTo>
                    <a:pt x="778256" y="629869"/>
                  </a:moveTo>
                  <a:lnTo>
                    <a:pt x="774966" y="618324"/>
                  </a:lnTo>
                  <a:lnTo>
                    <a:pt x="773315" y="606780"/>
                  </a:lnTo>
                  <a:lnTo>
                    <a:pt x="766724" y="598538"/>
                  </a:lnTo>
                  <a:lnTo>
                    <a:pt x="756831" y="588645"/>
                  </a:lnTo>
                  <a:lnTo>
                    <a:pt x="748576" y="585355"/>
                  </a:lnTo>
                  <a:lnTo>
                    <a:pt x="737044" y="578751"/>
                  </a:lnTo>
                  <a:lnTo>
                    <a:pt x="725500" y="575462"/>
                  </a:lnTo>
                  <a:lnTo>
                    <a:pt x="750227" y="532587"/>
                  </a:lnTo>
                  <a:lnTo>
                    <a:pt x="751878" y="525995"/>
                  </a:lnTo>
                  <a:lnTo>
                    <a:pt x="751878" y="521042"/>
                  </a:lnTo>
                  <a:lnTo>
                    <a:pt x="750227" y="514451"/>
                  </a:lnTo>
                  <a:lnTo>
                    <a:pt x="745286" y="512800"/>
                  </a:lnTo>
                  <a:lnTo>
                    <a:pt x="738682" y="509498"/>
                  </a:lnTo>
                  <a:lnTo>
                    <a:pt x="733742" y="509498"/>
                  </a:lnTo>
                  <a:lnTo>
                    <a:pt x="727151" y="512800"/>
                  </a:lnTo>
                  <a:lnTo>
                    <a:pt x="722198" y="516102"/>
                  </a:lnTo>
                  <a:lnTo>
                    <a:pt x="684276" y="588645"/>
                  </a:lnTo>
                  <a:lnTo>
                    <a:pt x="682625" y="588645"/>
                  </a:lnTo>
                  <a:lnTo>
                    <a:pt x="674382" y="598538"/>
                  </a:lnTo>
                  <a:lnTo>
                    <a:pt x="671080" y="605142"/>
                  </a:lnTo>
                  <a:lnTo>
                    <a:pt x="618324" y="699122"/>
                  </a:lnTo>
                  <a:lnTo>
                    <a:pt x="557314" y="593598"/>
                  </a:lnTo>
                  <a:lnTo>
                    <a:pt x="550722" y="585355"/>
                  </a:lnTo>
                  <a:lnTo>
                    <a:pt x="540829" y="575462"/>
                  </a:lnTo>
                  <a:lnTo>
                    <a:pt x="529285" y="570509"/>
                  </a:lnTo>
                  <a:lnTo>
                    <a:pt x="516089" y="563918"/>
                  </a:lnTo>
                  <a:lnTo>
                    <a:pt x="420458" y="532587"/>
                  </a:lnTo>
                  <a:lnTo>
                    <a:pt x="408914" y="582053"/>
                  </a:lnTo>
                  <a:lnTo>
                    <a:pt x="390779" y="662851"/>
                  </a:lnTo>
                  <a:lnTo>
                    <a:pt x="362750" y="768375"/>
                  </a:lnTo>
                  <a:lnTo>
                    <a:pt x="336359" y="606780"/>
                  </a:lnTo>
                  <a:lnTo>
                    <a:pt x="352856" y="568858"/>
                  </a:lnTo>
                  <a:lnTo>
                    <a:pt x="324815" y="544131"/>
                  </a:lnTo>
                  <a:lnTo>
                    <a:pt x="306679" y="544131"/>
                  </a:lnTo>
                  <a:lnTo>
                    <a:pt x="278650" y="568858"/>
                  </a:lnTo>
                  <a:lnTo>
                    <a:pt x="295148" y="606780"/>
                  </a:lnTo>
                  <a:lnTo>
                    <a:pt x="268757" y="768375"/>
                  </a:lnTo>
                  <a:lnTo>
                    <a:pt x="255612" y="718908"/>
                  </a:lnTo>
                  <a:lnTo>
                    <a:pt x="240728" y="662851"/>
                  </a:lnTo>
                  <a:lnTo>
                    <a:pt x="222592" y="582053"/>
                  </a:lnTo>
                  <a:lnTo>
                    <a:pt x="211048" y="532587"/>
                  </a:lnTo>
                  <a:lnTo>
                    <a:pt x="103873" y="570509"/>
                  </a:lnTo>
                  <a:lnTo>
                    <a:pt x="60998" y="588645"/>
                  </a:lnTo>
                  <a:lnTo>
                    <a:pt x="31318" y="623277"/>
                  </a:lnTo>
                  <a:lnTo>
                    <a:pt x="11531" y="676033"/>
                  </a:lnTo>
                  <a:lnTo>
                    <a:pt x="1638" y="735393"/>
                  </a:lnTo>
                  <a:lnTo>
                    <a:pt x="0" y="885444"/>
                  </a:lnTo>
                  <a:lnTo>
                    <a:pt x="110464" y="898639"/>
                  </a:lnTo>
                  <a:lnTo>
                    <a:pt x="113766" y="768375"/>
                  </a:lnTo>
                  <a:lnTo>
                    <a:pt x="113766" y="755180"/>
                  </a:lnTo>
                  <a:lnTo>
                    <a:pt x="118706" y="741997"/>
                  </a:lnTo>
                  <a:lnTo>
                    <a:pt x="128600" y="718908"/>
                  </a:lnTo>
                  <a:lnTo>
                    <a:pt x="128600" y="898639"/>
                  </a:lnTo>
                  <a:lnTo>
                    <a:pt x="220941" y="903579"/>
                  </a:lnTo>
                  <a:lnTo>
                    <a:pt x="316572" y="905230"/>
                  </a:lnTo>
                  <a:lnTo>
                    <a:pt x="410565" y="903579"/>
                  </a:lnTo>
                  <a:lnTo>
                    <a:pt x="502894" y="898639"/>
                  </a:lnTo>
                  <a:lnTo>
                    <a:pt x="502894" y="768375"/>
                  </a:lnTo>
                  <a:lnTo>
                    <a:pt x="502894" y="725500"/>
                  </a:lnTo>
                  <a:lnTo>
                    <a:pt x="570509" y="840930"/>
                  </a:lnTo>
                  <a:lnTo>
                    <a:pt x="605129" y="868959"/>
                  </a:lnTo>
                  <a:lnTo>
                    <a:pt x="619963" y="870610"/>
                  </a:lnTo>
                  <a:lnTo>
                    <a:pt x="634809" y="868959"/>
                  </a:lnTo>
                  <a:lnTo>
                    <a:pt x="649643" y="862355"/>
                  </a:lnTo>
                  <a:lnTo>
                    <a:pt x="661187" y="852462"/>
                  </a:lnTo>
                  <a:lnTo>
                    <a:pt x="671080" y="840930"/>
                  </a:lnTo>
                  <a:lnTo>
                    <a:pt x="735203" y="725500"/>
                  </a:lnTo>
                  <a:lnTo>
                    <a:pt x="749858" y="699122"/>
                  </a:lnTo>
                  <a:lnTo>
                    <a:pt x="770013" y="662851"/>
                  </a:lnTo>
                  <a:lnTo>
                    <a:pt x="774966" y="651306"/>
                  </a:lnTo>
                  <a:lnTo>
                    <a:pt x="778256" y="639762"/>
                  </a:lnTo>
                  <a:lnTo>
                    <a:pt x="778256" y="629869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280084" y="1432661"/>
              <a:ext cx="2174278" cy="542533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340815" y="1492072"/>
              <a:ext cx="2062480" cy="5366385"/>
            </a:xfrm>
            <a:custGeom>
              <a:avLst/>
              <a:gdLst/>
              <a:ahLst/>
              <a:cxnLst/>
              <a:rect l="l" t="t" r="r" b="b"/>
              <a:pathLst>
                <a:path w="2062479" h="5366384">
                  <a:moveTo>
                    <a:pt x="1766976" y="0"/>
                  </a:moveTo>
                  <a:lnTo>
                    <a:pt x="295351" y="0"/>
                  </a:lnTo>
                  <a:lnTo>
                    <a:pt x="247443" y="3865"/>
                  </a:lnTo>
                  <a:lnTo>
                    <a:pt x="201997" y="15057"/>
                  </a:lnTo>
                  <a:lnTo>
                    <a:pt x="159619" y="32966"/>
                  </a:lnTo>
                  <a:lnTo>
                    <a:pt x="120920" y="56984"/>
                  </a:lnTo>
                  <a:lnTo>
                    <a:pt x="86506" y="86504"/>
                  </a:lnTo>
                  <a:lnTo>
                    <a:pt x="56985" y="120917"/>
                  </a:lnTo>
                  <a:lnTo>
                    <a:pt x="32966" y="159615"/>
                  </a:lnTo>
                  <a:lnTo>
                    <a:pt x="15057" y="201990"/>
                  </a:lnTo>
                  <a:lnTo>
                    <a:pt x="3865" y="247434"/>
                  </a:lnTo>
                  <a:lnTo>
                    <a:pt x="0" y="295338"/>
                  </a:lnTo>
                  <a:lnTo>
                    <a:pt x="0" y="5365927"/>
                  </a:lnTo>
                  <a:lnTo>
                    <a:pt x="2062327" y="5365927"/>
                  </a:lnTo>
                  <a:lnTo>
                    <a:pt x="2062327" y="295338"/>
                  </a:lnTo>
                  <a:lnTo>
                    <a:pt x="2058461" y="247434"/>
                  </a:lnTo>
                  <a:lnTo>
                    <a:pt x="2047270" y="201990"/>
                  </a:lnTo>
                  <a:lnTo>
                    <a:pt x="2029361" y="159615"/>
                  </a:lnTo>
                  <a:lnTo>
                    <a:pt x="2005342" y="120917"/>
                  </a:lnTo>
                  <a:lnTo>
                    <a:pt x="1975821" y="86504"/>
                  </a:lnTo>
                  <a:lnTo>
                    <a:pt x="1941407" y="56984"/>
                  </a:lnTo>
                  <a:lnTo>
                    <a:pt x="1902707" y="32966"/>
                  </a:lnTo>
                  <a:lnTo>
                    <a:pt x="1860330" y="15057"/>
                  </a:lnTo>
                  <a:lnTo>
                    <a:pt x="1814884" y="3865"/>
                  </a:lnTo>
                  <a:lnTo>
                    <a:pt x="17669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913332" y="2337358"/>
              <a:ext cx="362585" cy="360680"/>
            </a:xfrm>
            <a:custGeom>
              <a:avLst/>
              <a:gdLst/>
              <a:ahLst/>
              <a:cxnLst/>
              <a:rect l="l" t="t" r="r" b="b"/>
              <a:pathLst>
                <a:path w="362584" h="360680">
                  <a:moveTo>
                    <a:pt x="158497" y="275780"/>
                  </a:moveTo>
                  <a:lnTo>
                    <a:pt x="67170" y="275780"/>
                  </a:lnTo>
                  <a:lnTo>
                    <a:pt x="86626" y="298767"/>
                  </a:lnTo>
                  <a:lnTo>
                    <a:pt x="109600" y="312902"/>
                  </a:lnTo>
                  <a:lnTo>
                    <a:pt x="100761" y="344728"/>
                  </a:lnTo>
                  <a:lnTo>
                    <a:pt x="157340" y="360641"/>
                  </a:lnTo>
                  <a:lnTo>
                    <a:pt x="166179" y="330581"/>
                  </a:lnTo>
                  <a:lnTo>
                    <a:pt x="196227" y="330581"/>
                  </a:lnTo>
                  <a:lnTo>
                    <a:pt x="208597" y="327050"/>
                  </a:lnTo>
                  <a:lnTo>
                    <a:pt x="222745" y="325285"/>
                  </a:lnTo>
                  <a:lnTo>
                    <a:pt x="290700" y="325285"/>
                  </a:lnTo>
                  <a:lnTo>
                    <a:pt x="275780" y="298767"/>
                  </a:lnTo>
                  <a:lnTo>
                    <a:pt x="292227" y="279323"/>
                  </a:lnTo>
                  <a:lnTo>
                    <a:pt x="171475" y="279323"/>
                  </a:lnTo>
                  <a:lnTo>
                    <a:pt x="158497" y="275780"/>
                  </a:lnTo>
                  <a:close/>
                </a:path>
                <a:path w="362584" h="360680">
                  <a:moveTo>
                    <a:pt x="290700" y="325285"/>
                  </a:moveTo>
                  <a:lnTo>
                    <a:pt x="222745" y="325285"/>
                  </a:lnTo>
                  <a:lnTo>
                    <a:pt x="240423" y="353568"/>
                  </a:lnTo>
                  <a:lnTo>
                    <a:pt x="291693" y="327050"/>
                  </a:lnTo>
                  <a:lnTo>
                    <a:pt x="290700" y="325285"/>
                  </a:lnTo>
                  <a:close/>
                </a:path>
                <a:path w="362584" h="360680">
                  <a:moveTo>
                    <a:pt x="17678" y="100774"/>
                  </a:moveTo>
                  <a:lnTo>
                    <a:pt x="0" y="157340"/>
                  </a:lnTo>
                  <a:lnTo>
                    <a:pt x="31813" y="167944"/>
                  </a:lnTo>
                  <a:lnTo>
                    <a:pt x="31813" y="196227"/>
                  </a:lnTo>
                  <a:lnTo>
                    <a:pt x="35356" y="210375"/>
                  </a:lnTo>
                  <a:lnTo>
                    <a:pt x="37122" y="224510"/>
                  </a:lnTo>
                  <a:lnTo>
                    <a:pt x="8839" y="242188"/>
                  </a:lnTo>
                  <a:lnTo>
                    <a:pt x="35356" y="293458"/>
                  </a:lnTo>
                  <a:lnTo>
                    <a:pt x="67170" y="275780"/>
                  </a:lnTo>
                  <a:lnTo>
                    <a:pt x="158497" y="275780"/>
                  </a:lnTo>
                  <a:lnTo>
                    <a:pt x="152031" y="274015"/>
                  </a:lnTo>
                  <a:lnTo>
                    <a:pt x="107835" y="243967"/>
                  </a:lnTo>
                  <a:lnTo>
                    <a:pt x="88392" y="210375"/>
                  </a:lnTo>
                  <a:lnTo>
                    <a:pt x="86626" y="190931"/>
                  </a:lnTo>
                  <a:lnTo>
                    <a:pt x="86626" y="173253"/>
                  </a:lnTo>
                  <a:lnTo>
                    <a:pt x="88392" y="153797"/>
                  </a:lnTo>
                  <a:lnTo>
                    <a:pt x="95465" y="137896"/>
                  </a:lnTo>
                  <a:lnTo>
                    <a:pt x="106070" y="121983"/>
                  </a:lnTo>
                  <a:lnTo>
                    <a:pt x="114901" y="113144"/>
                  </a:lnTo>
                  <a:lnTo>
                    <a:pt x="49491" y="113144"/>
                  </a:lnTo>
                  <a:lnTo>
                    <a:pt x="17678" y="100774"/>
                  </a:lnTo>
                  <a:close/>
                </a:path>
                <a:path w="362584" h="360680">
                  <a:moveTo>
                    <a:pt x="293458" y="86626"/>
                  </a:moveTo>
                  <a:lnTo>
                    <a:pt x="190919" y="86626"/>
                  </a:lnTo>
                  <a:lnTo>
                    <a:pt x="208597" y="90157"/>
                  </a:lnTo>
                  <a:lnTo>
                    <a:pt x="240423" y="107835"/>
                  </a:lnTo>
                  <a:lnTo>
                    <a:pt x="254571" y="120218"/>
                  </a:lnTo>
                  <a:lnTo>
                    <a:pt x="263410" y="137896"/>
                  </a:lnTo>
                  <a:lnTo>
                    <a:pt x="270471" y="153797"/>
                  </a:lnTo>
                  <a:lnTo>
                    <a:pt x="275780" y="173253"/>
                  </a:lnTo>
                  <a:lnTo>
                    <a:pt x="275780" y="192697"/>
                  </a:lnTo>
                  <a:lnTo>
                    <a:pt x="254571" y="242188"/>
                  </a:lnTo>
                  <a:lnTo>
                    <a:pt x="224510" y="266941"/>
                  </a:lnTo>
                  <a:lnTo>
                    <a:pt x="189153" y="279323"/>
                  </a:lnTo>
                  <a:lnTo>
                    <a:pt x="292227" y="279323"/>
                  </a:lnTo>
                  <a:lnTo>
                    <a:pt x="295224" y="275780"/>
                  </a:lnTo>
                  <a:lnTo>
                    <a:pt x="312902" y="251028"/>
                  </a:lnTo>
                  <a:lnTo>
                    <a:pt x="348046" y="251028"/>
                  </a:lnTo>
                  <a:lnTo>
                    <a:pt x="362407" y="205066"/>
                  </a:lnTo>
                  <a:lnTo>
                    <a:pt x="327050" y="196227"/>
                  </a:lnTo>
                  <a:lnTo>
                    <a:pt x="327050" y="166179"/>
                  </a:lnTo>
                  <a:lnTo>
                    <a:pt x="321741" y="139661"/>
                  </a:lnTo>
                  <a:lnTo>
                    <a:pt x="351790" y="121983"/>
                  </a:lnTo>
                  <a:lnTo>
                    <a:pt x="334415" y="88392"/>
                  </a:lnTo>
                  <a:lnTo>
                    <a:pt x="295224" y="88392"/>
                  </a:lnTo>
                  <a:lnTo>
                    <a:pt x="293458" y="86626"/>
                  </a:lnTo>
                  <a:close/>
                </a:path>
                <a:path w="362584" h="360680">
                  <a:moveTo>
                    <a:pt x="348046" y="251028"/>
                  </a:moveTo>
                  <a:lnTo>
                    <a:pt x="312902" y="251028"/>
                  </a:lnTo>
                  <a:lnTo>
                    <a:pt x="344728" y="261645"/>
                  </a:lnTo>
                  <a:lnTo>
                    <a:pt x="348046" y="251028"/>
                  </a:lnTo>
                  <a:close/>
                </a:path>
                <a:path w="362584" h="360680">
                  <a:moveTo>
                    <a:pt x="120205" y="10604"/>
                  </a:moveTo>
                  <a:lnTo>
                    <a:pt x="68948" y="37122"/>
                  </a:lnTo>
                  <a:lnTo>
                    <a:pt x="86626" y="68948"/>
                  </a:lnTo>
                  <a:lnTo>
                    <a:pt x="67170" y="88392"/>
                  </a:lnTo>
                  <a:lnTo>
                    <a:pt x="49491" y="113144"/>
                  </a:lnTo>
                  <a:lnTo>
                    <a:pt x="114901" y="113144"/>
                  </a:lnTo>
                  <a:lnTo>
                    <a:pt x="120205" y="107835"/>
                  </a:lnTo>
                  <a:lnTo>
                    <a:pt x="134353" y="98996"/>
                  </a:lnTo>
                  <a:lnTo>
                    <a:pt x="153797" y="90157"/>
                  </a:lnTo>
                  <a:lnTo>
                    <a:pt x="171475" y="86626"/>
                  </a:lnTo>
                  <a:lnTo>
                    <a:pt x="293458" y="86626"/>
                  </a:lnTo>
                  <a:lnTo>
                    <a:pt x="274015" y="67183"/>
                  </a:lnTo>
                  <a:lnTo>
                    <a:pt x="249262" y="51269"/>
                  </a:lnTo>
                  <a:lnTo>
                    <a:pt x="253817" y="38900"/>
                  </a:lnTo>
                  <a:lnTo>
                    <a:pt x="137883" y="38900"/>
                  </a:lnTo>
                  <a:lnTo>
                    <a:pt x="120205" y="10604"/>
                  </a:lnTo>
                  <a:close/>
                </a:path>
                <a:path w="362584" h="360680">
                  <a:moveTo>
                    <a:pt x="325272" y="70713"/>
                  </a:moveTo>
                  <a:lnTo>
                    <a:pt x="295224" y="88392"/>
                  </a:lnTo>
                  <a:lnTo>
                    <a:pt x="334415" y="88392"/>
                  </a:lnTo>
                  <a:lnTo>
                    <a:pt x="325272" y="70713"/>
                  </a:lnTo>
                  <a:close/>
                </a:path>
                <a:path w="362584" h="360680">
                  <a:moveTo>
                    <a:pt x="205066" y="0"/>
                  </a:moveTo>
                  <a:lnTo>
                    <a:pt x="192697" y="35356"/>
                  </a:lnTo>
                  <a:lnTo>
                    <a:pt x="166179" y="35356"/>
                  </a:lnTo>
                  <a:lnTo>
                    <a:pt x="137883" y="38900"/>
                  </a:lnTo>
                  <a:lnTo>
                    <a:pt x="253817" y="38900"/>
                  </a:lnTo>
                  <a:lnTo>
                    <a:pt x="261632" y="17678"/>
                  </a:lnTo>
                  <a:lnTo>
                    <a:pt x="205066" y="0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8183804" y="2599004"/>
              <a:ext cx="242201" cy="24395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655824" y="1918385"/>
              <a:ext cx="247484" cy="22981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275739" y="2033295"/>
              <a:ext cx="474345" cy="535940"/>
            </a:xfrm>
            <a:custGeom>
              <a:avLst/>
              <a:gdLst/>
              <a:ahLst/>
              <a:cxnLst/>
              <a:rect l="l" t="t" r="r" b="b"/>
              <a:pathLst>
                <a:path w="474345" h="535939">
                  <a:moveTo>
                    <a:pt x="155562" y="281089"/>
                  </a:moveTo>
                  <a:lnTo>
                    <a:pt x="113131" y="277545"/>
                  </a:lnTo>
                  <a:lnTo>
                    <a:pt x="111366" y="302298"/>
                  </a:lnTo>
                  <a:lnTo>
                    <a:pt x="91922" y="307606"/>
                  </a:lnTo>
                  <a:lnTo>
                    <a:pt x="74244" y="316445"/>
                  </a:lnTo>
                  <a:lnTo>
                    <a:pt x="58331" y="296989"/>
                  </a:lnTo>
                  <a:lnTo>
                    <a:pt x="26517" y="327050"/>
                  </a:lnTo>
                  <a:lnTo>
                    <a:pt x="42430" y="342963"/>
                  </a:lnTo>
                  <a:lnTo>
                    <a:pt x="33591" y="362407"/>
                  </a:lnTo>
                  <a:lnTo>
                    <a:pt x="27152" y="380085"/>
                  </a:lnTo>
                  <a:lnTo>
                    <a:pt x="66497" y="380085"/>
                  </a:lnTo>
                  <a:lnTo>
                    <a:pt x="67170" y="378307"/>
                  </a:lnTo>
                  <a:lnTo>
                    <a:pt x="72478" y="367703"/>
                  </a:lnTo>
                  <a:lnTo>
                    <a:pt x="81318" y="358863"/>
                  </a:lnTo>
                  <a:lnTo>
                    <a:pt x="93687" y="348259"/>
                  </a:lnTo>
                  <a:lnTo>
                    <a:pt x="106070" y="342963"/>
                  </a:lnTo>
                  <a:lnTo>
                    <a:pt x="130810" y="339420"/>
                  </a:lnTo>
                  <a:lnTo>
                    <a:pt x="144957" y="341185"/>
                  </a:lnTo>
                  <a:lnTo>
                    <a:pt x="144957" y="339420"/>
                  </a:lnTo>
                  <a:lnTo>
                    <a:pt x="144957" y="316445"/>
                  </a:lnTo>
                  <a:lnTo>
                    <a:pt x="148488" y="304063"/>
                  </a:lnTo>
                  <a:lnTo>
                    <a:pt x="155562" y="289928"/>
                  </a:lnTo>
                  <a:lnTo>
                    <a:pt x="155562" y="281089"/>
                  </a:lnTo>
                  <a:close/>
                </a:path>
                <a:path w="474345" h="535939">
                  <a:moveTo>
                    <a:pt x="258102" y="392455"/>
                  </a:moveTo>
                  <a:lnTo>
                    <a:pt x="233349" y="392455"/>
                  </a:lnTo>
                  <a:lnTo>
                    <a:pt x="231584" y="380085"/>
                  </a:lnTo>
                  <a:lnTo>
                    <a:pt x="226275" y="365937"/>
                  </a:lnTo>
                  <a:lnTo>
                    <a:pt x="222745" y="371246"/>
                  </a:lnTo>
                  <a:lnTo>
                    <a:pt x="215671" y="374777"/>
                  </a:lnTo>
                  <a:lnTo>
                    <a:pt x="208597" y="380085"/>
                  </a:lnTo>
                  <a:lnTo>
                    <a:pt x="199758" y="381850"/>
                  </a:lnTo>
                  <a:lnTo>
                    <a:pt x="190919" y="385381"/>
                  </a:lnTo>
                  <a:lnTo>
                    <a:pt x="196227" y="397764"/>
                  </a:lnTo>
                  <a:lnTo>
                    <a:pt x="196227" y="411899"/>
                  </a:lnTo>
                  <a:lnTo>
                    <a:pt x="183845" y="449021"/>
                  </a:lnTo>
                  <a:lnTo>
                    <a:pt x="150266" y="472008"/>
                  </a:lnTo>
                  <a:lnTo>
                    <a:pt x="137883" y="475538"/>
                  </a:lnTo>
                  <a:lnTo>
                    <a:pt x="111366" y="475538"/>
                  </a:lnTo>
                  <a:lnTo>
                    <a:pt x="77774" y="452564"/>
                  </a:lnTo>
                  <a:lnTo>
                    <a:pt x="60096" y="417207"/>
                  </a:lnTo>
                  <a:lnTo>
                    <a:pt x="60096" y="404837"/>
                  </a:lnTo>
                  <a:lnTo>
                    <a:pt x="61874" y="392455"/>
                  </a:lnTo>
                  <a:lnTo>
                    <a:pt x="65836" y="381850"/>
                  </a:lnTo>
                  <a:lnTo>
                    <a:pt x="26517" y="381850"/>
                  </a:lnTo>
                  <a:lnTo>
                    <a:pt x="1689" y="381850"/>
                  </a:lnTo>
                  <a:lnTo>
                    <a:pt x="0" y="422516"/>
                  </a:lnTo>
                  <a:lnTo>
                    <a:pt x="22974" y="424281"/>
                  </a:lnTo>
                  <a:lnTo>
                    <a:pt x="28282" y="443725"/>
                  </a:lnTo>
                  <a:lnTo>
                    <a:pt x="38887" y="461403"/>
                  </a:lnTo>
                  <a:lnTo>
                    <a:pt x="19443" y="477316"/>
                  </a:lnTo>
                  <a:lnTo>
                    <a:pt x="47726" y="509130"/>
                  </a:lnTo>
                  <a:lnTo>
                    <a:pt x="65405" y="493217"/>
                  </a:lnTo>
                  <a:lnTo>
                    <a:pt x="81318" y="503834"/>
                  </a:lnTo>
                  <a:lnTo>
                    <a:pt x="100761" y="509130"/>
                  </a:lnTo>
                  <a:lnTo>
                    <a:pt x="100761" y="533882"/>
                  </a:lnTo>
                  <a:lnTo>
                    <a:pt x="143192" y="535647"/>
                  </a:lnTo>
                  <a:lnTo>
                    <a:pt x="143192" y="512673"/>
                  </a:lnTo>
                  <a:lnTo>
                    <a:pt x="162636" y="507365"/>
                  </a:lnTo>
                  <a:lnTo>
                    <a:pt x="182079" y="500291"/>
                  </a:lnTo>
                  <a:lnTo>
                    <a:pt x="199758" y="516204"/>
                  </a:lnTo>
                  <a:lnTo>
                    <a:pt x="215671" y="500291"/>
                  </a:lnTo>
                  <a:lnTo>
                    <a:pt x="222745" y="493217"/>
                  </a:lnTo>
                  <a:lnTo>
                    <a:pt x="228041" y="487921"/>
                  </a:lnTo>
                  <a:lnTo>
                    <a:pt x="218135" y="475538"/>
                  </a:lnTo>
                  <a:lnTo>
                    <a:pt x="213906" y="470242"/>
                  </a:lnTo>
                  <a:lnTo>
                    <a:pt x="222745" y="452564"/>
                  </a:lnTo>
                  <a:lnTo>
                    <a:pt x="231584" y="433120"/>
                  </a:lnTo>
                  <a:lnTo>
                    <a:pt x="254558" y="433120"/>
                  </a:lnTo>
                  <a:lnTo>
                    <a:pt x="258102" y="392455"/>
                  </a:lnTo>
                  <a:close/>
                </a:path>
                <a:path w="474345" h="535939">
                  <a:moveTo>
                    <a:pt x="473773" y="97231"/>
                  </a:moveTo>
                  <a:lnTo>
                    <a:pt x="364172" y="0"/>
                  </a:lnTo>
                  <a:lnTo>
                    <a:pt x="337654" y="21209"/>
                  </a:lnTo>
                  <a:lnTo>
                    <a:pt x="323507" y="31826"/>
                  </a:lnTo>
                  <a:lnTo>
                    <a:pt x="231584" y="58343"/>
                  </a:lnTo>
                  <a:lnTo>
                    <a:pt x="189153" y="68948"/>
                  </a:lnTo>
                  <a:lnTo>
                    <a:pt x="143192" y="83083"/>
                  </a:lnTo>
                  <a:lnTo>
                    <a:pt x="90157" y="139661"/>
                  </a:lnTo>
                  <a:lnTo>
                    <a:pt x="45961" y="194462"/>
                  </a:lnTo>
                  <a:lnTo>
                    <a:pt x="42430" y="295224"/>
                  </a:lnTo>
                  <a:lnTo>
                    <a:pt x="54800" y="282854"/>
                  </a:lnTo>
                  <a:lnTo>
                    <a:pt x="74244" y="300532"/>
                  </a:lnTo>
                  <a:lnTo>
                    <a:pt x="98996" y="289928"/>
                  </a:lnTo>
                  <a:lnTo>
                    <a:pt x="100761" y="282854"/>
                  </a:lnTo>
                  <a:lnTo>
                    <a:pt x="104292" y="268706"/>
                  </a:lnTo>
                  <a:lnTo>
                    <a:pt x="106070" y="249262"/>
                  </a:lnTo>
                  <a:lnTo>
                    <a:pt x="109601" y="224510"/>
                  </a:lnTo>
                  <a:lnTo>
                    <a:pt x="180314" y="173253"/>
                  </a:lnTo>
                  <a:lnTo>
                    <a:pt x="196227" y="178549"/>
                  </a:lnTo>
                  <a:lnTo>
                    <a:pt x="215671" y="182092"/>
                  </a:lnTo>
                  <a:lnTo>
                    <a:pt x="228041" y="182092"/>
                  </a:lnTo>
                  <a:lnTo>
                    <a:pt x="231584" y="180314"/>
                  </a:lnTo>
                  <a:lnTo>
                    <a:pt x="231584" y="175018"/>
                  </a:lnTo>
                  <a:lnTo>
                    <a:pt x="238658" y="187388"/>
                  </a:lnTo>
                  <a:lnTo>
                    <a:pt x="240423" y="199771"/>
                  </a:lnTo>
                  <a:lnTo>
                    <a:pt x="240423" y="212140"/>
                  </a:lnTo>
                  <a:lnTo>
                    <a:pt x="238658" y="224510"/>
                  </a:lnTo>
                  <a:lnTo>
                    <a:pt x="212140" y="252793"/>
                  </a:lnTo>
                  <a:lnTo>
                    <a:pt x="176784" y="284619"/>
                  </a:lnTo>
                  <a:lnTo>
                    <a:pt x="167944" y="295224"/>
                  </a:lnTo>
                  <a:lnTo>
                    <a:pt x="162636" y="307606"/>
                  </a:lnTo>
                  <a:lnTo>
                    <a:pt x="160870" y="321741"/>
                  </a:lnTo>
                  <a:lnTo>
                    <a:pt x="160870" y="335889"/>
                  </a:lnTo>
                  <a:lnTo>
                    <a:pt x="164401" y="351802"/>
                  </a:lnTo>
                  <a:lnTo>
                    <a:pt x="171475" y="360641"/>
                  </a:lnTo>
                  <a:lnTo>
                    <a:pt x="176784" y="365937"/>
                  </a:lnTo>
                  <a:lnTo>
                    <a:pt x="183857" y="367703"/>
                  </a:lnTo>
                  <a:lnTo>
                    <a:pt x="190919" y="371246"/>
                  </a:lnTo>
                  <a:lnTo>
                    <a:pt x="201523" y="367703"/>
                  </a:lnTo>
                  <a:lnTo>
                    <a:pt x="222745" y="346494"/>
                  </a:lnTo>
                  <a:lnTo>
                    <a:pt x="254558" y="316445"/>
                  </a:lnTo>
                  <a:lnTo>
                    <a:pt x="293458" y="284619"/>
                  </a:lnTo>
                  <a:lnTo>
                    <a:pt x="312902" y="270471"/>
                  </a:lnTo>
                  <a:lnTo>
                    <a:pt x="337654" y="258102"/>
                  </a:lnTo>
                  <a:lnTo>
                    <a:pt x="364172" y="238658"/>
                  </a:lnTo>
                  <a:lnTo>
                    <a:pt x="413664" y="185623"/>
                  </a:lnTo>
                  <a:lnTo>
                    <a:pt x="421525" y="173253"/>
                  </a:lnTo>
                  <a:lnTo>
                    <a:pt x="438416" y="146723"/>
                  </a:lnTo>
                  <a:lnTo>
                    <a:pt x="457860" y="123748"/>
                  </a:lnTo>
                  <a:lnTo>
                    <a:pt x="473773" y="97231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737319" y="1432661"/>
              <a:ext cx="2174278" cy="542533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65936" y="1432661"/>
              <a:ext cx="2174279" cy="5425338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611188" y="481076"/>
            <a:ext cx="429514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5"/>
              <a:t>How to </a:t>
            </a:r>
            <a:r>
              <a:rPr spc="-140"/>
              <a:t>turn your </a:t>
            </a:r>
            <a:r>
              <a:rPr spc="-120"/>
              <a:t>data </a:t>
            </a:r>
            <a:r>
              <a:rPr spc="-125"/>
              <a:t>into</a:t>
            </a:r>
            <a:r>
              <a:rPr spc="-560"/>
              <a:t> </a:t>
            </a:r>
            <a:r>
              <a:rPr spc="-105"/>
              <a:t>value?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611187" y="931164"/>
            <a:ext cx="3609340" cy="879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60">
                <a:latin typeface="Trebuchet MS"/>
                <a:cs typeface="Trebuchet MS"/>
              </a:rPr>
              <a:t>Data </a:t>
            </a:r>
            <a:r>
              <a:rPr sz="1400" spc="-75">
                <a:latin typeface="Trebuchet MS"/>
                <a:cs typeface="Trebuchet MS"/>
              </a:rPr>
              <a:t>Value </a:t>
            </a:r>
            <a:r>
              <a:rPr sz="1400" spc="-60">
                <a:latin typeface="Trebuchet MS"/>
                <a:cs typeface="Trebuchet MS"/>
              </a:rPr>
              <a:t>Chain</a:t>
            </a:r>
            <a:r>
              <a:rPr sz="1400" spc="-200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examples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350">
              <a:latin typeface="Trebuchet MS"/>
              <a:cs typeface="Trebuchet MS"/>
            </a:endParaRPr>
          </a:p>
          <a:p>
            <a:pPr marL="700405">
              <a:lnSpc>
                <a:spcPct val="100000"/>
              </a:lnSpc>
              <a:tabLst>
                <a:tab pos="2786380" algn="l"/>
              </a:tabLst>
            </a:pPr>
            <a:r>
              <a:rPr sz="1900" b="1" spc="-80">
                <a:solidFill>
                  <a:srgbClr val="4D4F53"/>
                </a:solidFill>
                <a:latin typeface="Trebuchet MS"/>
                <a:cs typeface="Trebuchet MS"/>
              </a:rPr>
              <a:t>Da</a:t>
            </a:r>
            <a:r>
              <a:rPr sz="1900" b="1" spc="-125">
                <a:solidFill>
                  <a:srgbClr val="4D4F53"/>
                </a:solidFill>
                <a:latin typeface="Trebuchet MS"/>
                <a:cs typeface="Trebuchet MS"/>
              </a:rPr>
              <a:t>t</a:t>
            </a:r>
            <a:r>
              <a:rPr sz="1900" b="1" spc="-7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900" b="1">
                <a:solidFill>
                  <a:srgbClr val="4D4F53"/>
                </a:solidFill>
                <a:latin typeface="Trebuchet MS"/>
                <a:cs typeface="Trebuchet MS"/>
              </a:rPr>
              <a:t>	</a:t>
            </a:r>
            <a:r>
              <a:rPr sz="1900" b="1" spc="-95">
                <a:solidFill>
                  <a:srgbClr val="4D4F53"/>
                </a:solidFill>
                <a:latin typeface="Trebuchet MS"/>
                <a:cs typeface="Trebuchet MS"/>
              </a:rPr>
              <a:t>An</a:t>
            </a:r>
            <a:r>
              <a:rPr sz="1900" b="1" spc="-12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900" b="1" spc="-65">
                <a:solidFill>
                  <a:srgbClr val="4D4F53"/>
                </a:solidFill>
                <a:latin typeface="Trebuchet MS"/>
                <a:cs typeface="Trebuchet MS"/>
              </a:rPr>
              <a:t>l</a:t>
            </a:r>
            <a:r>
              <a:rPr sz="1900" b="1" spc="-140">
                <a:solidFill>
                  <a:srgbClr val="4D4F53"/>
                </a:solidFill>
                <a:latin typeface="Trebuchet MS"/>
                <a:cs typeface="Trebuchet MS"/>
              </a:rPr>
              <a:t>y</a:t>
            </a:r>
            <a:r>
              <a:rPr sz="1900" b="1" spc="-75">
                <a:solidFill>
                  <a:srgbClr val="4D4F53"/>
                </a:solidFill>
                <a:latin typeface="Trebuchet MS"/>
                <a:cs typeface="Trebuchet MS"/>
              </a:rPr>
              <a:t>s</a:t>
            </a:r>
            <a:r>
              <a:rPr sz="1900" b="1" spc="-110">
                <a:solidFill>
                  <a:srgbClr val="4D4F53"/>
                </a:solidFill>
                <a:latin typeface="Trebuchet MS"/>
                <a:cs typeface="Trebuchet MS"/>
              </a:rPr>
              <a:t>i</a:t>
            </a:r>
            <a:r>
              <a:rPr sz="1900" b="1" spc="-65">
                <a:solidFill>
                  <a:srgbClr val="4D4F53"/>
                </a:solidFill>
                <a:latin typeface="Trebuchet MS"/>
                <a:cs typeface="Trebuchet MS"/>
              </a:rPr>
              <a:t>s</a:t>
            </a:r>
            <a:endParaRPr sz="1900">
              <a:latin typeface="Trebuchet MS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738710" y="1495552"/>
            <a:ext cx="69088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-50">
                <a:solidFill>
                  <a:srgbClr val="4D4F53"/>
                </a:solidFill>
                <a:latin typeface="Trebuchet MS"/>
                <a:cs typeface="Trebuchet MS"/>
              </a:rPr>
              <a:t>I</a:t>
            </a:r>
            <a:r>
              <a:rPr sz="1900" b="1" spc="-105">
                <a:solidFill>
                  <a:srgbClr val="4D4F53"/>
                </a:solidFill>
                <a:latin typeface="Trebuchet MS"/>
                <a:cs typeface="Trebuchet MS"/>
              </a:rPr>
              <a:t>n</a:t>
            </a:r>
            <a:r>
              <a:rPr sz="1900" b="1" spc="-75">
                <a:solidFill>
                  <a:srgbClr val="4D4F53"/>
                </a:solidFill>
                <a:latin typeface="Trebuchet MS"/>
                <a:cs typeface="Trebuchet MS"/>
              </a:rPr>
              <a:t>s</a:t>
            </a:r>
            <a:r>
              <a:rPr sz="1900" b="1" spc="-110">
                <a:solidFill>
                  <a:srgbClr val="4D4F53"/>
                </a:solidFill>
                <a:latin typeface="Trebuchet MS"/>
                <a:cs typeface="Trebuchet MS"/>
              </a:rPr>
              <a:t>i</a:t>
            </a:r>
            <a:r>
              <a:rPr sz="1900" b="1" spc="-70">
                <a:solidFill>
                  <a:srgbClr val="4D4F53"/>
                </a:solidFill>
                <a:latin typeface="Trebuchet MS"/>
                <a:cs typeface="Trebuchet MS"/>
              </a:rPr>
              <a:t>g</a:t>
            </a:r>
            <a:r>
              <a:rPr sz="1900" b="1" spc="-150">
                <a:solidFill>
                  <a:srgbClr val="4D4F53"/>
                </a:solidFill>
                <a:latin typeface="Trebuchet MS"/>
                <a:cs typeface="Trebuchet MS"/>
              </a:rPr>
              <a:t>h</a:t>
            </a:r>
            <a:r>
              <a:rPr sz="1900" b="1" spc="-95">
                <a:solidFill>
                  <a:srgbClr val="4D4F53"/>
                </a:solidFill>
                <a:latin typeface="Trebuchet MS"/>
                <a:cs typeface="Trebuchet MS"/>
              </a:rPr>
              <a:t>t</a:t>
            </a:r>
            <a:endParaRPr sz="1900">
              <a:latin typeface="Trebuchet MS"/>
              <a:cs typeface="Trebuchet M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055749" y="1495552"/>
            <a:ext cx="668020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-14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900" b="1" spc="-114">
                <a:solidFill>
                  <a:srgbClr val="4D4F53"/>
                </a:solidFill>
                <a:latin typeface="Trebuchet MS"/>
                <a:cs typeface="Trebuchet MS"/>
              </a:rPr>
              <a:t>c</a:t>
            </a:r>
            <a:r>
              <a:rPr sz="1900" b="1" spc="-105">
                <a:solidFill>
                  <a:srgbClr val="4D4F53"/>
                </a:solidFill>
                <a:latin typeface="Trebuchet MS"/>
                <a:cs typeface="Trebuchet MS"/>
              </a:rPr>
              <a:t>t</a:t>
            </a:r>
            <a:r>
              <a:rPr sz="1900" b="1" spc="-110">
                <a:solidFill>
                  <a:srgbClr val="4D4F53"/>
                </a:solidFill>
                <a:latin typeface="Trebuchet MS"/>
                <a:cs typeface="Trebuchet MS"/>
              </a:rPr>
              <a:t>i</a:t>
            </a:r>
            <a:r>
              <a:rPr sz="1900" b="1" spc="-80">
                <a:solidFill>
                  <a:srgbClr val="4D4F53"/>
                </a:solidFill>
                <a:latin typeface="Trebuchet MS"/>
                <a:cs typeface="Trebuchet MS"/>
              </a:rPr>
              <a:t>o</a:t>
            </a:r>
            <a:r>
              <a:rPr sz="1900" b="1" spc="-105">
                <a:solidFill>
                  <a:srgbClr val="4D4F53"/>
                </a:solidFill>
                <a:latin typeface="Trebuchet MS"/>
                <a:cs typeface="Trebuchet MS"/>
              </a:rPr>
              <a:t>n</a:t>
            </a:r>
            <a:endParaRPr sz="19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0371975" y="1495552"/>
            <a:ext cx="577215" cy="314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900" b="1" spc="-204">
                <a:solidFill>
                  <a:srgbClr val="4D4F53"/>
                </a:solidFill>
                <a:latin typeface="Trebuchet MS"/>
                <a:cs typeface="Trebuchet MS"/>
              </a:rPr>
              <a:t>V</a:t>
            </a:r>
            <a:r>
              <a:rPr sz="1900" b="1" spc="-80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900" b="1" spc="-100">
                <a:solidFill>
                  <a:srgbClr val="4D4F53"/>
                </a:solidFill>
                <a:latin typeface="Trebuchet MS"/>
                <a:cs typeface="Trebuchet MS"/>
              </a:rPr>
              <a:t>l</a:t>
            </a:r>
            <a:r>
              <a:rPr sz="1900" b="1" spc="-125">
                <a:solidFill>
                  <a:srgbClr val="4D4F53"/>
                </a:solidFill>
                <a:latin typeface="Trebuchet MS"/>
                <a:cs typeface="Trebuchet MS"/>
              </a:rPr>
              <a:t>u</a:t>
            </a:r>
            <a:r>
              <a:rPr sz="1900" b="1" spc="-140">
                <a:solidFill>
                  <a:srgbClr val="4D4F53"/>
                </a:solidFill>
                <a:latin typeface="Trebuchet MS"/>
                <a:cs typeface="Trebuchet MS"/>
              </a:rPr>
              <a:t>e</a:t>
            </a:r>
            <a:endParaRPr sz="1900">
              <a:latin typeface="Trebuchet MS"/>
              <a:cs typeface="Trebuchet M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0" y="3091281"/>
            <a:ext cx="12192000" cy="985519"/>
          </a:xfrm>
          <a:custGeom>
            <a:avLst/>
            <a:gdLst/>
            <a:ahLst/>
            <a:cxnLst/>
            <a:rect l="l" t="t" r="r" b="b"/>
            <a:pathLst>
              <a:path w="12192000" h="985520">
                <a:moveTo>
                  <a:pt x="0" y="985265"/>
                </a:moveTo>
                <a:lnTo>
                  <a:pt x="0" y="0"/>
                </a:lnTo>
                <a:lnTo>
                  <a:pt x="12192000" y="0"/>
                </a:lnTo>
                <a:lnTo>
                  <a:pt x="12192000" y="985265"/>
                </a:lnTo>
                <a:lnTo>
                  <a:pt x="0" y="985265"/>
                </a:lnTo>
                <a:close/>
              </a:path>
            </a:pathLst>
          </a:custGeom>
          <a:solidFill>
            <a:srgbClr val="D4F7FF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721678" y="3269488"/>
            <a:ext cx="1497965" cy="62928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65"/>
              </a:spcBef>
            </a:pPr>
            <a:r>
              <a:rPr sz="1300" spc="-45">
                <a:latin typeface="Trebuchet MS"/>
                <a:cs typeface="Trebuchet MS"/>
              </a:rPr>
              <a:t>Sales </a:t>
            </a:r>
            <a:r>
              <a:rPr sz="1300" spc="-40">
                <a:latin typeface="Trebuchet MS"/>
                <a:cs typeface="Trebuchet MS"/>
              </a:rPr>
              <a:t>volume </a:t>
            </a:r>
            <a:r>
              <a:rPr sz="1300" spc="-45">
                <a:latin typeface="Trebuchet MS"/>
                <a:cs typeface="Trebuchet MS"/>
              </a:rPr>
              <a:t>per  </a:t>
            </a:r>
            <a:r>
              <a:rPr sz="1300" spc="-40">
                <a:latin typeface="Trebuchet MS"/>
                <a:cs typeface="Trebuchet MS"/>
              </a:rPr>
              <a:t>customer</a:t>
            </a:r>
            <a:r>
              <a:rPr sz="1300" spc="-165">
                <a:latin typeface="Trebuchet MS"/>
                <a:cs typeface="Trebuchet MS"/>
              </a:rPr>
              <a:t> </a:t>
            </a:r>
            <a:r>
              <a:rPr sz="1300" spc="-60">
                <a:latin typeface="Trebuchet MS"/>
                <a:cs typeface="Trebuchet MS"/>
              </a:rPr>
              <a:t>categorized  </a:t>
            </a:r>
            <a:r>
              <a:rPr sz="1300" spc="-45">
                <a:latin typeface="Trebuchet MS"/>
                <a:cs typeface="Trebuchet MS"/>
              </a:rPr>
              <a:t>by product</a:t>
            </a:r>
            <a:r>
              <a:rPr sz="1300" spc="-135">
                <a:latin typeface="Trebuchet MS"/>
                <a:cs typeface="Trebuchet MS"/>
              </a:rPr>
              <a:t> </a:t>
            </a:r>
            <a:r>
              <a:rPr sz="1300" spc="-35">
                <a:latin typeface="Trebuchet MS"/>
                <a:cs typeface="Trebuchet MS"/>
              </a:rPr>
              <a:t>group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973412" y="3269488"/>
            <a:ext cx="1663700" cy="62928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>
              <a:lnSpc>
                <a:spcPct val="102299"/>
              </a:lnSpc>
              <a:spcBef>
                <a:spcPts val="65"/>
              </a:spcBef>
            </a:pPr>
            <a:r>
              <a:rPr sz="1300" spc="-25">
                <a:latin typeface="Trebuchet MS"/>
                <a:cs typeface="Trebuchet MS"/>
              </a:rPr>
              <a:t>Demand </a:t>
            </a:r>
            <a:r>
              <a:rPr sz="1300" spc="-55">
                <a:latin typeface="Trebuchet MS"/>
                <a:cs typeface="Trebuchet MS"/>
              </a:rPr>
              <a:t>profile</a:t>
            </a:r>
            <a:r>
              <a:rPr sz="1300" spc="-200">
                <a:latin typeface="Trebuchet MS"/>
                <a:cs typeface="Trebuchet MS"/>
              </a:rPr>
              <a:t> </a:t>
            </a:r>
            <a:r>
              <a:rPr sz="1300" spc="-45">
                <a:latin typeface="Trebuchet MS"/>
                <a:cs typeface="Trebuchet MS"/>
              </a:rPr>
              <a:t>analysis  </a:t>
            </a:r>
            <a:r>
              <a:rPr sz="1300" spc="-35">
                <a:latin typeface="Trebuchet MS"/>
                <a:cs typeface="Trebuchet MS"/>
              </a:rPr>
              <a:t>and </a:t>
            </a:r>
            <a:r>
              <a:rPr sz="1300" spc="-60">
                <a:latin typeface="Trebuchet MS"/>
                <a:cs typeface="Trebuchet MS"/>
              </a:rPr>
              <a:t>identification </a:t>
            </a:r>
            <a:r>
              <a:rPr sz="1300" spc="-40">
                <a:latin typeface="Trebuchet MS"/>
                <a:cs typeface="Trebuchet MS"/>
              </a:rPr>
              <a:t>of  cross-sales</a:t>
            </a:r>
            <a:r>
              <a:rPr sz="1300" spc="-90">
                <a:latin typeface="Trebuchet MS"/>
                <a:cs typeface="Trebuchet MS"/>
              </a:rPr>
              <a:t> </a:t>
            </a:r>
            <a:r>
              <a:rPr sz="1300" spc="-55">
                <a:latin typeface="Trebuchet MS"/>
                <a:cs typeface="Trebuchet MS"/>
              </a:rPr>
              <a:t>potential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234114" y="3168903"/>
            <a:ext cx="1598930" cy="833119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60"/>
              </a:spcBef>
            </a:pPr>
            <a:r>
              <a:rPr sz="1300" spc="-55">
                <a:latin typeface="Trebuchet MS"/>
                <a:cs typeface="Trebuchet MS"/>
              </a:rPr>
              <a:t>Identification </a:t>
            </a:r>
            <a:r>
              <a:rPr sz="1300" spc="-45">
                <a:latin typeface="Trebuchet MS"/>
                <a:cs typeface="Trebuchet MS"/>
              </a:rPr>
              <a:t>of </a:t>
            </a:r>
            <a:r>
              <a:rPr sz="1300" spc="-50">
                <a:latin typeface="Trebuchet MS"/>
                <a:cs typeface="Trebuchet MS"/>
              </a:rPr>
              <a:t>the  </a:t>
            </a:r>
            <a:r>
              <a:rPr sz="1300" spc="-45">
                <a:latin typeface="Trebuchet MS"/>
                <a:cs typeface="Trebuchet MS"/>
              </a:rPr>
              <a:t>product </a:t>
            </a:r>
            <a:r>
              <a:rPr sz="1300" spc="-35">
                <a:latin typeface="Trebuchet MS"/>
                <a:cs typeface="Trebuchet MS"/>
              </a:rPr>
              <a:t>group </a:t>
            </a:r>
            <a:r>
              <a:rPr sz="1300" spc="-50">
                <a:latin typeface="Trebuchet MS"/>
                <a:cs typeface="Trebuchet MS"/>
              </a:rPr>
              <a:t>with  </a:t>
            </a:r>
            <a:r>
              <a:rPr sz="1300" spc="-40">
                <a:latin typeface="Trebuchet MS"/>
                <a:cs typeface="Trebuchet MS"/>
              </a:rPr>
              <a:t>highest cross-sales  </a:t>
            </a:r>
            <a:r>
              <a:rPr sz="1300" spc="-55">
                <a:latin typeface="Trebuchet MS"/>
                <a:cs typeface="Trebuchet MS"/>
              </a:rPr>
              <a:t>potential </a:t>
            </a:r>
            <a:r>
              <a:rPr sz="1300" spc="-45">
                <a:latin typeface="Trebuchet MS"/>
                <a:cs typeface="Trebuchet MS"/>
              </a:rPr>
              <a:t>per</a:t>
            </a:r>
            <a:r>
              <a:rPr sz="1300" spc="-170">
                <a:latin typeface="Trebuchet MS"/>
                <a:cs typeface="Trebuchet MS"/>
              </a:rPr>
              <a:t> </a:t>
            </a:r>
            <a:r>
              <a:rPr sz="1300" spc="-40">
                <a:latin typeface="Trebuchet MS"/>
                <a:cs typeface="Trebuchet MS"/>
              </a:rPr>
              <a:t>customer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457338" y="3269488"/>
            <a:ext cx="1642110" cy="62928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algn="just">
              <a:lnSpc>
                <a:spcPct val="102299"/>
              </a:lnSpc>
              <a:spcBef>
                <a:spcPts val="65"/>
              </a:spcBef>
            </a:pPr>
            <a:r>
              <a:rPr sz="1300" spc="-65">
                <a:latin typeface="Trebuchet MS"/>
                <a:cs typeface="Trebuchet MS"/>
              </a:rPr>
              <a:t>Prioritize </a:t>
            </a:r>
            <a:r>
              <a:rPr sz="1300" spc="-50">
                <a:latin typeface="Trebuchet MS"/>
                <a:cs typeface="Trebuchet MS"/>
              </a:rPr>
              <a:t>high-potential  </a:t>
            </a:r>
            <a:r>
              <a:rPr sz="1300" spc="-45">
                <a:latin typeface="Trebuchet MS"/>
                <a:cs typeface="Trebuchet MS"/>
              </a:rPr>
              <a:t>product </a:t>
            </a:r>
            <a:r>
              <a:rPr sz="1300" spc="-30">
                <a:latin typeface="Trebuchet MS"/>
                <a:cs typeface="Trebuchet MS"/>
              </a:rPr>
              <a:t>groups </a:t>
            </a:r>
            <a:r>
              <a:rPr sz="1300" spc="-50">
                <a:latin typeface="Trebuchet MS"/>
                <a:cs typeface="Trebuchet MS"/>
              </a:rPr>
              <a:t>in </a:t>
            </a:r>
            <a:r>
              <a:rPr sz="1300" spc="-45">
                <a:latin typeface="Trebuchet MS"/>
                <a:cs typeface="Trebuchet MS"/>
              </a:rPr>
              <a:t>sales  meetings </a:t>
            </a:r>
            <a:r>
              <a:rPr sz="1300" spc="-50">
                <a:latin typeface="Trebuchet MS"/>
                <a:cs typeface="Trebuchet MS"/>
              </a:rPr>
              <a:t>with</a:t>
            </a:r>
            <a:r>
              <a:rPr sz="1300" spc="-130">
                <a:latin typeface="Trebuchet MS"/>
                <a:cs typeface="Trebuchet MS"/>
              </a:rPr>
              <a:t> </a:t>
            </a:r>
            <a:r>
              <a:rPr sz="1300" spc="-60">
                <a:latin typeface="Trebuchet MS"/>
                <a:cs typeface="Trebuchet MS"/>
              </a:rPr>
              <a:t>clients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9725469" y="3370071"/>
            <a:ext cx="1762760" cy="42799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 marR="5080">
              <a:lnSpc>
                <a:spcPct val="103099"/>
              </a:lnSpc>
              <a:spcBef>
                <a:spcPts val="50"/>
              </a:spcBef>
            </a:pPr>
            <a:r>
              <a:rPr sz="1300" spc="-45">
                <a:latin typeface="Trebuchet MS"/>
                <a:cs typeface="Trebuchet MS"/>
              </a:rPr>
              <a:t>Increase </a:t>
            </a:r>
            <a:r>
              <a:rPr sz="1300" spc="-40">
                <a:latin typeface="Trebuchet MS"/>
                <a:cs typeface="Trebuchet MS"/>
              </a:rPr>
              <a:t>sales </a:t>
            </a:r>
            <a:r>
              <a:rPr sz="1300" spc="-35">
                <a:latin typeface="Trebuchet MS"/>
                <a:cs typeface="Trebuchet MS"/>
              </a:rPr>
              <a:t>volumes</a:t>
            </a:r>
            <a:r>
              <a:rPr sz="1300" spc="-220">
                <a:latin typeface="Trebuchet MS"/>
                <a:cs typeface="Trebuchet MS"/>
              </a:rPr>
              <a:t> </a:t>
            </a:r>
            <a:r>
              <a:rPr sz="1300" spc="-75">
                <a:latin typeface="Trebuchet MS"/>
                <a:cs typeface="Trebuchet MS"/>
              </a:rPr>
              <a:t>at  </a:t>
            </a:r>
            <a:r>
              <a:rPr sz="1300" spc="-55">
                <a:latin typeface="Trebuchet MS"/>
                <a:cs typeface="Trebuchet MS"/>
              </a:rPr>
              <a:t>existing</a:t>
            </a:r>
            <a:r>
              <a:rPr sz="1300" spc="-90">
                <a:latin typeface="Trebuchet MS"/>
                <a:cs typeface="Trebuchet MS"/>
              </a:rPr>
              <a:t> </a:t>
            </a:r>
            <a:r>
              <a:rPr sz="1300" spc="-40">
                <a:latin typeface="Trebuchet MS"/>
                <a:cs typeface="Trebuchet MS"/>
              </a:rPr>
              <a:t>customers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0" y="2906420"/>
            <a:ext cx="989330" cy="1179830"/>
          </a:xfrm>
          <a:custGeom>
            <a:avLst/>
            <a:gdLst/>
            <a:ahLst/>
            <a:cxnLst/>
            <a:rect l="l" t="t" r="r" b="b"/>
            <a:pathLst>
              <a:path w="989330" h="1179829">
                <a:moveTo>
                  <a:pt x="989279" y="190436"/>
                </a:moveTo>
                <a:lnTo>
                  <a:pt x="870038" y="190436"/>
                </a:lnTo>
                <a:lnTo>
                  <a:pt x="679602" y="0"/>
                </a:lnTo>
                <a:lnTo>
                  <a:pt x="489165" y="190436"/>
                </a:lnTo>
                <a:lnTo>
                  <a:pt x="486943" y="190436"/>
                </a:lnTo>
                <a:lnTo>
                  <a:pt x="0" y="677379"/>
                </a:lnTo>
                <a:lnTo>
                  <a:pt x="0" y="679615"/>
                </a:lnTo>
                <a:lnTo>
                  <a:pt x="0" y="1079525"/>
                </a:lnTo>
                <a:lnTo>
                  <a:pt x="0" y="1179715"/>
                </a:lnTo>
                <a:lnTo>
                  <a:pt x="989279" y="190436"/>
                </a:lnTo>
                <a:close/>
              </a:path>
            </a:pathLst>
          </a:custGeom>
          <a:solidFill>
            <a:srgbClr val="29D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 rot="18900000">
            <a:off x="6960" y="3565079"/>
            <a:ext cx="296022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r>
              <a:rPr sz="1600" spc="-35">
                <a:solidFill>
                  <a:srgbClr val="FFFFFF"/>
                </a:solidFill>
                <a:latin typeface="Trebuchet MS"/>
                <a:cs typeface="Trebuchet MS"/>
              </a:rPr>
              <a:t>B2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37" name="object 37"/>
          <p:cNvSpPr txBox="1"/>
          <p:nvPr/>
        </p:nvSpPr>
        <p:spPr>
          <a:xfrm rot="18960000">
            <a:off x="152725" y="3450373"/>
            <a:ext cx="233452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r>
              <a:rPr sz="1600" spc="-40">
                <a:solidFill>
                  <a:srgbClr val="FFFFFF"/>
                </a:solidFill>
                <a:latin typeface="Trebuchet MS"/>
                <a:cs typeface="Trebuchet MS"/>
              </a:rPr>
              <a:t>B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38" name="object 38"/>
          <p:cNvSpPr txBox="1"/>
          <p:nvPr/>
        </p:nvSpPr>
        <p:spPr>
          <a:xfrm rot="18900000">
            <a:off x="256948" y="3230573"/>
            <a:ext cx="464620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r>
              <a:rPr sz="1600" spc="-35">
                <a:solidFill>
                  <a:srgbClr val="FFFFFF"/>
                </a:solidFill>
                <a:latin typeface="Trebuchet MS"/>
                <a:cs typeface="Trebuchet MS"/>
              </a:rPr>
              <a:t>S</a:t>
            </a:r>
            <a:r>
              <a:rPr sz="1600" spc="-80">
                <a:solidFill>
                  <a:srgbClr val="FFFFFF"/>
                </a:solidFill>
                <a:latin typeface="Trebuchet MS"/>
                <a:cs typeface="Trebuchet MS"/>
              </a:rPr>
              <a:t>a</a:t>
            </a:r>
            <a:r>
              <a:rPr sz="1600" spc="-110">
                <a:solidFill>
                  <a:srgbClr val="FFFFFF"/>
                </a:solidFill>
                <a:latin typeface="Trebuchet MS"/>
                <a:cs typeface="Trebuchet MS"/>
              </a:rPr>
              <a:t>l</a:t>
            </a:r>
            <a:r>
              <a:rPr sz="1600" spc="-80">
                <a:solidFill>
                  <a:srgbClr val="FFFFFF"/>
                </a:solidFill>
                <a:latin typeface="Trebuchet MS"/>
                <a:cs typeface="Trebuchet MS"/>
              </a:rPr>
              <a:t>e</a:t>
            </a:r>
            <a:r>
              <a:rPr sz="1600" spc="-25">
                <a:solidFill>
                  <a:srgbClr val="FFFFFF"/>
                </a:solidFill>
                <a:latin typeface="Trebuchet MS"/>
                <a:cs typeface="Trebuchet MS"/>
              </a:rPr>
              <a:t>s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0" y="4255096"/>
            <a:ext cx="12192000" cy="985519"/>
          </a:xfrm>
          <a:custGeom>
            <a:avLst/>
            <a:gdLst/>
            <a:ahLst/>
            <a:cxnLst/>
            <a:rect l="l" t="t" r="r" b="b"/>
            <a:pathLst>
              <a:path w="12192000" h="985520">
                <a:moveTo>
                  <a:pt x="0" y="985265"/>
                </a:moveTo>
                <a:lnTo>
                  <a:pt x="0" y="0"/>
                </a:lnTo>
                <a:lnTo>
                  <a:pt x="12192000" y="0"/>
                </a:lnTo>
                <a:lnTo>
                  <a:pt x="12192000" y="985265"/>
                </a:lnTo>
                <a:lnTo>
                  <a:pt x="0" y="985265"/>
                </a:lnTo>
                <a:close/>
              </a:path>
            </a:pathLst>
          </a:custGeom>
          <a:solidFill>
            <a:srgbClr val="A9EEFF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721678" y="4466844"/>
            <a:ext cx="1682750" cy="66865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just">
              <a:lnSpc>
                <a:spcPct val="100699"/>
              </a:lnSpc>
              <a:spcBef>
                <a:spcPts val="85"/>
              </a:spcBef>
            </a:pPr>
            <a:r>
              <a:rPr sz="1400" spc="-60">
                <a:latin typeface="Trebuchet MS"/>
                <a:cs typeface="Trebuchet MS"/>
              </a:rPr>
              <a:t>Customer </a:t>
            </a:r>
            <a:r>
              <a:rPr sz="1400" spc="-80">
                <a:latin typeface="Trebuchet MS"/>
                <a:cs typeface="Trebuchet MS"/>
              </a:rPr>
              <a:t>characterist-  </a:t>
            </a:r>
            <a:r>
              <a:rPr sz="1400" spc="-95">
                <a:latin typeface="Trebuchet MS"/>
                <a:cs typeface="Trebuchet MS"/>
              </a:rPr>
              <a:t>ics, </a:t>
            </a:r>
            <a:r>
              <a:rPr sz="1400" spc="-60">
                <a:latin typeface="Trebuchet MS"/>
                <a:cs typeface="Trebuchet MS"/>
              </a:rPr>
              <a:t>transaction</a:t>
            </a:r>
            <a:r>
              <a:rPr sz="1400" spc="-200">
                <a:latin typeface="Trebuchet MS"/>
                <a:cs typeface="Trebuchet MS"/>
              </a:rPr>
              <a:t> </a:t>
            </a:r>
            <a:r>
              <a:rPr sz="1400" spc="-80">
                <a:latin typeface="Trebuchet MS"/>
                <a:cs typeface="Trebuchet MS"/>
              </a:rPr>
              <a:t>history,  </a:t>
            </a:r>
            <a:r>
              <a:rPr sz="1400" spc="-50">
                <a:latin typeface="Trebuchet MS"/>
                <a:cs typeface="Trebuchet MS"/>
              </a:rPr>
              <a:t>and </a:t>
            </a:r>
            <a:r>
              <a:rPr sz="1400" spc="-55">
                <a:latin typeface="Trebuchet MS"/>
                <a:cs typeface="Trebuchet MS"/>
              </a:rPr>
              <a:t>behavior</a:t>
            </a:r>
            <a:r>
              <a:rPr sz="1400" spc="-19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data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973412" y="4311396"/>
            <a:ext cx="1579880" cy="88519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</a:pPr>
            <a:r>
              <a:rPr sz="1400" spc="-55">
                <a:latin typeface="Trebuchet MS"/>
                <a:cs typeface="Trebuchet MS"/>
              </a:rPr>
              <a:t>Root </a:t>
            </a:r>
            <a:r>
              <a:rPr sz="1400" spc="-65">
                <a:latin typeface="Trebuchet MS"/>
                <a:cs typeface="Trebuchet MS"/>
              </a:rPr>
              <a:t>cause </a:t>
            </a:r>
            <a:r>
              <a:rPr sz="1400" spc="-55">
                <a:latin typeface="Trebuchet MS"/>
                <a:cs typeface="Trebuchet MS"/>
              </a:rPr>
              <a:t>analysis  </a:t>
            </a:r>
            <a:r>
              <a:rPr sz="1400" spc="-60">
                <a:latin typeface="Trebuchet MS"/>
                <a:cs typeface="Trebuchet MS"/>
              </a:rPr>
              <a:t>aiming </a:t>
            </a:r>
            <a:r>
              <a:rPr sz="1400" spc="-55">
                <a:latin typeface="Trebuchet MS"/>
                <a:cs typeface="Trebuchet MS"/>
              </a:rPr>
              <a:t>to </a:t>
            </a:r>
            <a:r>
              <a:rPr sz="1400" spc="-70">
                <a:latin typeface="Trebuchet MS"/>
                <a:cs typeface="Trebuchet MS"/>
              </a:rPr>
              <a:t>identify</a:t>
            </a:r>
            <a:r>
              <a:rPr sz="1400" spc="-275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he  </a:t>
            </a:r>
            <a:r>
              <a:rPr sz="1400" spc="-55">
                <a:latin typeface="Trebuchet MS"/>
                <a:cs typeface="Trebuchet MS"/>
              </a:rPr>
              <a:t>underlying </a:t>
            </a:r>
            <a:r>
              <a:rPr sz="1400" spc="-65">
                <a:latin typeface="Trebuchet MS"/>
                <a:cs typeface="Trebuchet MS"/>
              </a:rPr>
              <a:t>cause </a:t>
            </a:r>
            <a:r>
              <a:rPr sz="1400" spc="-55">
                <a:latin typeface="Trebuchet MS"/>
                <a:cs typeface="Trebuchet MS"/>
              </a:rPr>
              <a:t>of  churn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234114" y="4311396"/>
            <a:ext cx="1611630" cy="88519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</a:pPr>
            <a:r>
              <a:rPr sz="1400" spc="-60">
                <a:latin typeface="Trebuchet MS"/>
                <a:cs typeface="Trebuchet MS"/>
              </a:rPr>
              <a:t>Behavioral </a:t>
            </a:r>
            <a:r>
              <a:rPr sz="1400" spc="-65">
                <a:latin typeface="Trebuchet MS"/>
                <a:cs typeface="Trebuchet MS"/>
              </a:rPr>
              <a:t>patterns</a:t>
            </a:r>
            <a:r>
              <a:rPr sz="1400" spc="-21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in  </a:t>
            </a:r>
            <a:r>
              <a:rPr sz="1400" spc="-60">
                <a:latin typeface="Trebuchet MS"/>
                <a:cs typeface="Trebuchet MS"/>
              </a:rPr>
              <a:t>the customer </a:t>
            </a:r>
            <a:r>
              <a:rPr sz="1400" spc="-65">
                <a:latin typeface="Trebuchet MS"/>
                <a:cs typeface="Trebuchet MS"/>
              </a:rPr>
              <a:t>journey  </a:t>
            </a:r>
            <a:r>
              <a:rPr sz="1400" spc="-70">
                <a:latin typeface="Trebuchet MS"/>
                <a:cs typeface="Trebuchet MS"/>
              </a:rPr>
              <a:t>that are </a:t>
            </a:r>
            <a:r>
              <a:rPr sz="1400" spc="-55">
                <a:latin typeface="Trebuchet MS"/>
                <a:cs typeface="Trebuchet MS"/>
              </a:rPr>
              <a:t>strongly  </a:t>
            </a:r>
            <a:r>
              <a:rPr sz="1400" spc="-75">
                <a:latin typeface="Trebuchet MS"/>
                <a:cs typeface="Trebuchet MS"/>
              </a:rPr>
              <a:t>correlated </a:t>
            </a:r>
            <a:r>
              <a:rPr sz="1400" spc="-60">
                <a:latin typeface="Trebuchet MS"/>
                <a:cs typeface="Trebuchet MS"/>
              </a:rPr>
              <a:t>with</a:t>
            </a:r>
            <a:r>
              <a:rPr sz="1400" spc="-18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churn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457338" y="4418076"/>
            <a:ext cx="1529080" cy="66865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85"/>
              </a:spcBef>
            </a:pPr>
            <a:r>
              <a:rPr sz="1400" spc="-75">
                <a:latin typeface="Trebuchet MS"/>
                <a:cs typeface="Trebuchet MS"/>
              </a:rPr>
              <a:t>Strategic </a:t>
            </a:r>
            <a:r>
              <a:rPr sz="1400" spc="-50">
                <a:latin typeface="Trebuchet MS"/>
                <a:cs typeface="Trebuchet MS"/>
              </a:rPr>
              <a:t>and</a:t>
            </a:r>
            <a:r>
              <a:rPr sz="1400" spc="-215">
                <a:latin typeface="Trebuchet MS"/>
                <a:cs typeface="Trebuchet MS"/>
              </a:rPr>
              <a:t> </a:t>
            </a:r>
            <a:r>
              <a:rPr sz="1400" spc="-90">
                <a:latin typeface="Trebuchet MS"/>
                <a:cs typeface="Trebuchet MS"/>
              </a:rPr>
              <a:t>tactical  </a:t>
            </a:r>
            <a:r>
              <a:rPr sz="1400" spc="-65">
                <a:latin typeface="Trebuchet MS"/>
                <a:cs typeface="Trebuchet MS"/>
              </a:rPr>
              <a:t>adjustments </a:t>
            </a:r>
            <a:r>
              <a:rPr sz="1400" spc="-55">
                <a:latin typeface="Trebuchet MS"/>
                <a:cs typeface="Trebuchet MS"/>
              </a:rPr>
              <a:t>to </a:t>
            </a:r>
            <a:r>
              <a:rPr sz="1400" spc="-60">
                <a:latin typeface="Trebuchet MS"/>
                <a:cs typeface="Trebuchet MS"/>
              </a:rPr>
              <a:t>the  customer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journey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9725469" y="4524755"/>
            <a:ext cx="1697989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spc="-70">
                <a:latin typeface="Trebuchet MS"/>
                <a:cs typeface="Trebuchet MS"/>
              </a:rPr>
              <a:t>Reduce </a:t>
            </a:r>
            <a:r>
              <a:rPr sz="1400" spc="-55">
                <a:latin typeface="Trebuchet MS"/>
                <a:cs typeface="Trebuchet MS"/>
              </a:rPr>
              <a:t>churn </a:t>
            </a:r>
            <a:r>
              <a:rPr sz="1400" spc="-45">
                <a:latin typeface="Trebuchet MS"/>
                <a:cs typeface="Trebuchet MS"/>
              </a:rPr>
              <a:t>among  </a:t>
            </a:r>
            <a:r>
              <a:rPr sz="1400" spc="-55">
                <a:latin typeface="Trebuchet MS"/>
                <a:cs typeface="Trebuchet MS"/>
              </a:rPr>
              <a:t>subscription</a:t>
            </a:r>
            <a:r>
              <a:rPr sz="1400" spc="-13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customers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0" y="4070235"/>
            <a:ext cx="989330" cy="1179830"/>
          </a:xfrm>
          <a:custGeom>
            <a:avLst/>
            <a:gdLst/>
            <a:ahLst/>
            <a:cxnLst/>
            <a:rect l="l" t="t" r="r" b="b"/>
            <a:pathLst>
              <a:path w="989330" h="1179829">
                <a:moveTo>
                  <a:pt x="989279" y="190423"/>
                </a:moveTo>
                <a:lnTo>
                  <a:pt x="870026" y="190423"/>
                </a:lnTo>
                <a:lnTo>
                  <a:pt x="679602" y="0"/>
                </a:lnTo>
                <a:lnTo>
                  <a:pt x="489178" y="190423"/>
                </a:lnTo>
                <a:lnTo>
                  <a:pt x="486943" y="190423"/>
                </a:lnTo>
                <a:lnTo>
                  <a:pt x="0" y="677379"/>
                </a:lnTo>
                <a:lnTo>
                  <a:pt x="0" y="679615"/>
                </a:lnTo>
                <a:lnTo>
                  <a:pt x="0" y="1079525"/>
                </a:lnTo>
                <a:lnTo>
                  <a:pt x="0" y="1179715"/>
                </a:lnTo>
                <a:lnTo>
                  <a:pt x="989279" y="190423"/>
                </a:lnTo>
                <a:close/>
              </a:path>
            </a:pathLst>
          </a:custGeom>
          <a:solidFill>
            <a:srgbClr val="29D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 rot="18900000">
            <a:off x="88586" y="4525397"/>
            <a:ext cx="538888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r>
              <a:rPr sz="1600" spc="-70">
                <a:solidFill>
                  <a:srgbClr val="FFFFFF"/>
                </a:solidFill>
                <a:latin typeface="Trebuchet MS"/>
                <a:cs typeface="Trebuchet MS"/>
              </a:rPr>
              <a:t>Chu</a:t>
            </a:r>
            <a:r>
              <a:rPr sz="1600" spc="-45">
                <a:solidFill>
                  <a:srgbClr val="FFFFFF"/>
                </a:solidFill>
                <a:latin typeface="Trebuchet MS"/>
                <a:cs typeface="Trebuchet MS"/>
              </a:rPr>
              <a:t>r</a:t>
            </a:r>
            <a:r>
              <a:rPr sz="1600" spc="-35">
                <a:solidFill>
                  <a:srgbClr val="FFFFFF"/>
                </a:solidFill>
                <a:latin typeface="Trebuchet MS"/>
                <a:cs typeface="Trebuchet MS"/>
              </a:rPr>
              <a:t>n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0" y="5414886"/>
            <a:ext cx="12192000" cy="985519"/>
          </a:xfrm>
          <a:custGeom>
            <a:avLst/>
            <a:gdLst/>
            <a:ahLst/>
            <a:cxnLst/>
            <a:rect l="l" t="t" r="r" b="b"/>
            <a:pathLst>
              <a:path w="12192000" h="985520">
                <a:moveTo>
                  <a:pt x="0" y="985263"/>
                </a:moveTo>
                <a:lnTo>
                  <a:pt x="0" y="0"/>
                </a:lnTo>
                <a:lnTo>
                  <a:pt x="12192000" y="0"/>
                </a:lnTo>
                <a:lnTo>
                  <a:pt x="12192000" y="985263"/>
                </a:lnTo>
                <a:lnTo>
                  <a:pt x="0" y="985263"/>
                </a:lnTo>
                <a:close/>
              </a:path>
            </a:pathLst>
          </a:custGeom>
          <a:solidFill>
            <a:srgbClr val="7FE6FF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721678" y="5592063"/>
            <a:ext cx="1615440" cy="63246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 marR="5080" algn="just">
              <a:lnSpc>
                <a:spcPct val="103099"/>
              </a:lnSpc>
              <a:spcBef>
                <a:spcPts val="50"/>
              </a:spcBef>
            </a:pPr>
            <a:r>
              <a:rPr sz="1300" spc="-20">
                <a:latin typeface="Trebuchet MS"/>
                <a:cs typeface="Trebuchet MS"/>
              </a:rPr>
              <a:t>Machinery </a:t>
            </a:r>
            <a:r>
              <a:rPr sz="1300" spc="-65">
                <a:latin typeface="Trebuchet MS"/>
                <a:cs typeface="Trebuchet MS"/>
              </a:rPr>
              <a:t>failure</a:t>
            </a:r>
            <a:r>
              <a:rPr sz="1300" spc="-204">
                <a:latin typeface="Trebuchet MS"/>
                <a:cs typeface="Trebuchet MS"/>
              </a:rPr>
              <a:t> </a:t>
            </a:r>
            <a:r>
              <a:rPr sz="1300" spc="-75">
                <a:latin typeface="Trebuchet MS"/>
                <a:cs typeface="Trebuchet MS"/>
              </a:rPr>
              <a:t>data,  </a:t>
            </a:r>
            <a:r>
              <a:rPr sz="1300" spc="-20">
                <a:latin typeface="Trebuchet MS"/>
                <a:cs typeface="Trebuchet MS"/>
              </a:rPr>
              <a:t>sensor </a:t>
            </a:r>
            <a:r>
              <a:rPr sz="1300" spc="-35">
                <a:latin typeface="Trebuchet MS"/>
                <a:cs typeface="Trebuchet MS"/>
              </a:rPr>
              <a:t>and </a:t>
            </a:r>
            <a:r>
              <a:rPr sz="1300" spc="-40">
                <a:latin typeface="Trebuchet MS"/>
                <a:cs typeface="Trebuchet MS"/>
              </a:rPr>
              <a:t>production  </a:t>
            </a:r>
            <a:r>
              <a:rPr sz="1300" spc="-60">
                <a:latin typeface="Trebuchet MS"/>
                <a:cs typeface="Trebuchet MS"/>
              </a:rPr>
              <a:t>data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973412" y="5491479"/>
            <a:ext cx="1642110" cy="833119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60"/>
              </a:spcBef>
            </a:pPr>
            <a:r>
              <a:rPr sz="1300" spc="-40">
                <a:latin typeface="Trebuchet MS"/>
                <a:cs typeface="Trebuchet MS"/>
              </a:rPr>
              <a:t>Develop </a:t>
            </a:r>
            <a:r>
              <a:rPr sz="1300" spc="-50">
                <a:latin typeface="Trebuchet MS"/>
                <a:cs typeface="Trebuchet MS"/>
              </a:rPr>
              <a:t>prediction  </a:t>
            </a:r>
            <a:r>
              <a:rPr sz="1300" spc="-40">
                <a:latin typeface="Trebuchet MS"/>
                <a:cs typeface="Trebuchet MS"/>
              </a:rPr>
              <a:t>model </a:t>
            </a:r>
            <a:r>
              <a:rPr sz="1300" spc="-55">
                <a:latin typeface="Trebuchet MS"/>
                <a:cs typeface="Trebuchet MS"/>
              </a:rPr>
              <a:t>for </a:t>
            </a:r>
            <a:r>
              <a:rPr sz="1300" spc="-45">
                <a:latin typeface="Trebuchet MS"/>
                <a:cs typeface="Trebuchet MS"/>
              </a:rPr>
              <a:t>machine</a:t>
            </a:r>
            <a:r>
              <a:rPr sz="1300" spc="-215">
                <a:latin typeface="Trebuchet MS"/>
                <a:cs typeface="Trebuchet MS"/>
              </a:rPr>
              <a:t> </a:t>
            </a:r>
            <a:r>
              <a:rPr sz="1300" spc="-55">
                <a:latin typeface="Trebuchet MS"/>
                <a:cs typeface="Trebuchet MS"/>
              </a:rPr>
              <a:t>part  </a:t>
            </a:r>
            <a:r>
              <a:rPr sz="1300" spc="-65">
                <a:latin typeface="Trebuchet MS"/>
                <a:cs typeface="Trebuchet MS"/>
              </a:rPr>
              <a:t>failure </a:t>
            </a:r>
            <a:r>
              <a:rPr sz="1300" spc="-30">
                <a:latin typeface="Trebuchet MS"/>
                <a:cs typeface="Trebuchet MS"/>
              </a:rPr>
              <a:t>using </a:t>
            </a:r>
            <a:r>
              <a:rPr sz="1300" spc="-45">
                <a:latin typeface="Trebuchet MS"/>
                <a:cs typeface="Trebuchet MS"/>
              </a:rPr>
              <a:t>machine  </a:t>
            </a:r>
            <a:r>
              <a:rPr sz="1300" spc="-50">
                <a:latin typeface="Trebuchet MS"/>
                <a:cs typeface="Trebuchet MS"/>
              </a:rPr>
              <a:t>learning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234114" y="5592063"/>
            <a:ext cx="1603375" cy="63246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 marR="5080">
              <a:lnSpc>
                <a:spcPct val="103099"/>
              </a:lnSpc>
              <a:spcBef>
                <a:spcPts val="50"/>
              </a:spcBef>
            </a:pPr>
            <a:r>
              <a:rPr sz="1300" spc="-60">
                <a:latin typeface="Trebuchet MS"/>
                <a:cs typeface="Trebuchet MS"/>
              </a:rPr>
              <a:t>Real-time </a:t>
            </a:r>
            <a:r>
              <a:rPr sz="1300" spc="-50">
                <a:latin typeface="Trebuchet MS"/>
                <a:cs typeface="Trebuchet MS"/>
              </a:rPr>
              <a:t>prediction</a:t>
            </a:r>
            <a:r>
              <a:rPr sz="1300" spc="-165">
                <a:latin typeface="Trebuchet MS"/>
                <a:cs typeface="Trebuchet MS"/>
              </a:rPr>
              <a:t> </a:t>
            </a:r>
            <a:r>
              <a:rPr sz="1300" spc="-40">
                <a:latin typeface="Trebuchet MS"/>
                <a:cs typeface="Trebuchet MS"/>
              </a:rPr>
              <a:t>of  </a:t>
            </a:r>
            <a:r>
              <a:rPr sz="1300" spc="-50">
                <a:latin typeface="Trebuchet MS"/>
                <a:cs typeface="Trebuchet MS"/>
              </a:rPr>
              <a:t>the risk </a:t>
            </a:r>
            <a:r>
              <a:rPr sz="1300" spc="-45">
                <a:latin typeface="Trebuchet MS"/>
                <a:cs typeface="Trebuchet MS"/>
              </a:rPr>
              <a:t>of machine  parts</a:t>
            </a:r>
            <a:r>
              <a:rPr sz="1300" spc="-85">
                <a:latin typeface="Trebuchet MS"/>
                <a:cs typeface="Trebuchet MS"/>
              </a:rPr>
              <a:t> </a:t>
            </a:r>
            <a:r>
              <a:rPr sz="1300" spc="-60">
                <a:latin typeface="Trebuchet MS"/>
                <a:cs typeface="Trebuchet MS"/>
              </a:rPr>
              <a:t>failing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457338" y="5592063"/>
            <a:ext cx="1581785" cy="63246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 marR="5080">
              <a:lnSpc>
                <a:spcPct val="103099"/>
              </a:lnSpc>
              <a:spcBef>
                <a:spcPts val="50"/>
              </a:spcBef>
            </a:pPr>
            <a:r>
              <a:rPr sz="1300" spc="-60">
                <a:latin typeface="Trebuchet MS"/>
                <a:cs typeface="Trebuchet MS"/>
              </a:rPr>
              <a:t>Proactively </a:t>
            </a:r>
            <a:r>
              <a:rPr sz="1300" spc="-50">
                <a:latin typeface="Trebuchet MS"/>
                <a:cs typeface="Trebuchet MS"/>
              </a:rPr>
              <a:t>switch </a:t>
            </a:r>
            <a:r>
              <a:rPr sz="1300" spc="-35">
                <a:latin typeface="Trebuchet MS"/>
                <a:cs typeface="Trebuchet MS"/>
              </a:rPr>
              <a:t>out  </a:t>
            </a:r>
            <a:r>
              <a:rPr sz="1300" spc="-45">
                <a:latin typeface="Trebuchet MS"/>
                <a:cs typeface="Trebuchet MS"/>
              </a:rPr>
              <a:t>parts </a:t>
            </a:r>
            <a:r>
              <a:rPr sz="1300" spc="-55">
                <a:latin typeface="Trebuchet MS"/>
                <a:cs typeface="Trebuchet MS"/>
              </a:rPr>
              <a:t>that </a:t>
            </a:r>
            <a:r>
              <a:rPr sz="1300" spc="-60">
                <a:latin typeface="Trebuchet MS"/>
                <a:cs typeface="Trebuchet MS"/>
              </a:rPr>
              <a:t>are </a:t>
            </a:r>
            <a:r>
              <a:rPr sz="1300" spc="-35">
                <a:latin typeface="Trebuchet MS"/>
                <a:cs typeface="Trebuchet MS"/>
              </a:rPr>
              <a:t>about</a:t>
            </a:r>
            <a:r>
              <a:rPr sz="1300" spc="-220">
                <a:latin typeface="Trebuchet MS"/>
                <a:cs typeface="Trebuchet MS"/>
              </a:rPr>
              <a:t> </a:t>
            </a:r>
            <a:r>
              <a:rPr sz="1300" spc="-50">
                <a:latin typeface="Trebuchet MS"/>
                <a:cs typeface="Trebuchet MS"/>
              </a:rPr>
              <a:t>to  </a:t>
            </a:r>
            <a:r>
              <a:rPr sz="1300" spc="-55">
                <a:latin typeface="Trebuchet MS"/>
                <a:cs typeface="Trebuchet MS"/>
              </a:rPr>
              <a:t>break</a:t>
            </a:r>
            <a:endParaRPr sz="1300">
              <a:latin typeface="Trebuchet MS"/>
              <a:cs typeface="Trebuchet M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9725469" y="5695695"/>
            <a:ext cx="1452245" cy="4248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99"/>
              </a:lnSpc>
              <a:spcBef>
                <a:spcPts val="75"/>
              </a:spcBef>
            </a:pPr>
            <a:r>
              <a:rPr sz="1300" spc="-45">
                <a:latin typeface="Trebuchet MS"/>
                <a:cs typeface="Trebuchet MS"/>
              </a:rPr>
              <a:t>Increased </a:t>
            </a:r>
            <a:r>
              <a:rPr sz="1300" spc="-50">
                <a:latin typeface="Trebuchet MS"/>
                <a:cs typeface="Trebuchet MS"/>
              </a:rPr>
              <a:t>up-time</a:t>
            </a:r>
            <a:r>
              <a:rPr sz="1300" spc="-155">
                <a:latin typeface="Trebuchet MS"/>
                <a:cs typeface="Trebuchet MS"/>
              </a:rPr>
              <a:t> </a:t>
            </a:r>
            <a:r>
              <a:rPr sz="1300" spc="-40">
                <a:latin typeface="Trebuchet MS"/>
                <a:cs typeface="Trebuchet MS"/>
              </a:rPr>
              <a:t>of  </a:t>
            </a:r>
            <a:r>
              <a:rPr sz="1300" spc="-45">
                <a:latin typeface="Trebuchet MS"/>
                <a:cs typeface="Trebuchet MS"/>
              </a:rPr>
              <a:t>machine</a:t>
            </a:r>
            <a:r>
              <a:rPr sz="1300" spc="-105">
                <a:latin typeface="Trebuchet MS"/>
                <a:cs typeface="Trebuchet MS"/>
              </a:rPr>
              <a:t> </a:t>
            </a:r>
            <a:r>
              <a:rPr sz="1300" spc="-45">
                <a:latin typeface="Trebuchet MS"/>
                <a:cs typeface="Trebuchet MS"/>
              </a:rPr>
              <a:t>equipment</a:t>
            </a:r>
            <a:endParaRPr sz="1300">
              <a:latin typeface="Trebuchet MS"/>
              <a:cs typeface="Trebuchet MS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0" y="5212219"/>
            <a:ext cx="11926570" cy="1645920"/>
            <a:chOff x="0" y="5212219"/>
            <a:chExt cx="11926570" cy="1645920"/>
          </a:xfrm>
        </p:grpSpPr>
        <p:sp>
          <p:nvSpPr>
            <p:cNvPr id="54" name="object 54"/>
            <p:cNvSpPr/>
            <p:nvPr/>
          </p:nvSpPr>
          <p:spPr>
            <a:xfrm>
              <a:off x="0" y="5420461"/>
              <a:ext cx="989330" cy="989330"/>
            </a:xfrm>
            <a:custGeom>
              <a:avLst/>
              <a:gdLst/>
              <a:ahLst/>
              <a:cxnLst/>
              <a:rect l="l" t="t" r="r" b="b"/>
              <a:pathLst>
                <a:path w="989330" h="989329">
                  <a:moveTo>
                    <a:pt x="989286" y="0"/>
                  </a:moveTo>
                  <a:lnTo>
                    <a:pt x="486951" y="0"/>
                  </a:lnTo>
                  <a:lnTo>
                    <a:pt x="0" y="486945"/>
                  </a:lnTo>
                  <a:lnTo>
                    <a:pt x="0" y="989280"/>
                  </a:lnTo>
                  <a:lnTo>
                    <a:pt x="989286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65154" y="6629594"/>
              <a:ext cx="11661775" cy="228600"/>
            </a:xfrm>
            <a:custGeom>
              <a:avLst/>
              <a:gdLst/>
              <a:ahLst/>
              <a:cxnLst/>
              <a:rect l="l" t="t" r="r" b="b"/>
              <a:pathLst>
                <a:path w="11661775" h="228600">
                  <a:moveTo>
                    <a:pt x="0" y="0"/>
                  </a:moveTo>
                  <a:lnTo>
                    <a:pt x="11661377" y="0"/>
                  </a:lnTo>
                  <a:lnTo>
                    <a:pt x="11661377" y="228405"/>
                  </a:lnTo>
                  <a:lnTo>
                    <a:pt x="0" y="2284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0" y="5212219"/>
              <a:ext cx="995680" cy="1195705"/>
            </a:xfrm>
            <a:custGeom>
              <a:avLst/>
              <a:gdLst/>
              <a:ahLst/>
              <a:cxnLst/>
              <a:rect l="l" t="t" r="r" b="b"/>
              <a:pathLst>
                <a:path w="995680" h="1195704">
                  <a:moveTo>
                    <a:pt x="755780" y="0"/>
                  </a:moveTo>
                  <a:lnTo>
                    <a:pt x="0" y="755781"/>
                  </a:lnTo>
                  <a:lnTo>
                    <a:pt x="0" y="1155689"/>
                  </a:lnTo>
                  <a:lnTo>
                    <a:pt x="39440" y="1195129"/>
                  </a:lnTo>
                  <a:lnTo>
                    <a:pt x="995174" y="239394"/>
                  </a:lnTo>
                  <a:lnTo>
                    <a:pt x="755780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57"/>
          <p:cNvSpPr txBox="1"/>
          <p:nvPr/>
        </p:nvSpPr>
        <p:spPr>
          <a:xfrm rot="18900000">
            <a:off x="-156005" y="5705146"/>
            <a:ext cx="1103450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r>
              <a:rPr sz="1600" spc="80">
                <a:solidFill>
                  <a:srgbClr val="FFFFFF"/>
                </a:solidFill>
                <a:latin typeface="Trebuchet MS"/>
                <a:cs typeface="Trebuchet MS"/>
              </a:rPr>
              <a:t>M</a:t>
            </a:r>
            <a:r>
              <a:rPr sz="1600" spc="60">
                <a:solidFill>
                  <a:srgbClr val="FFFFFF"/>
                </a:solidFill>
                <a:latin typeface="Trebuchet MS"/>
                <a:cs typeface="Trebuchet MS"/>
              </a:rPr>
              <a:t>a</a:t>
            </a:r>
            <a:r>
              <a:rPr sz="1600" spc="-95">
                <a:solidFill>
                  <a:srgbClr val="FFFFFF"/>
                </a:solidFill>
                <a:latin typeface="Trebuchet MS"/>
                <a:cs typeface="Trebuchet MS"/>
              </a:rPr>
              <a:t>i</a:t>
            </a:r>
            <a:r>
              <a:rPr sz="1600" spc="-55">
                <a:solidFill>
                  <a:srgbClr val="FFFFFF"/>
                </a:solidFill>
                <a:latin typeface="Trebuchet MS"/>
                <a:cs typeface="Trebuchet MS"/>
              </a:rPr>
              <a:t>n</a:t>
            </a:r>
            <a:r>
              <a:rPr sz="1600" spc="-114">
                <a:solidFill>
                  <a:srgbClr val="FFFFFF"/>
                </a:solidFill>
                <a:latin typeface="Trebuchet MS"/>
                <a:cs typeface="Trebuchet MS"/>
              </a:rPr>
              <a:t>t</a:t>
            </a:r>
            <a:r>
              <a:rPr sz="1600" spc="-80">
                <a:solidFill>
                  <a:srgbClr val="FFFFFF"/>
                </a:solidFill>
                <a:latin typeface="Trebuchet MS"/>
                <a:cs typeface="Trebuchet MS"/>
              </a:rPr>
              <a:t>e</a:t>
            </a:r>
            <a:r>
              <a:rPr sz="1600" spc="-40">
                <a:solidFill>
                  <a:srgbClr val="FFFFFF"/>
                </a:solidFill>
                <a:latin typeface="Trebuchet MS"/>
                <a:cs typeface="Trebuchet MS"/>
              </a:rPr>
              <a:t>n</a:t>
            </a:r>
            <a:r>
              <a:rPr sz="1600" spc="-80">
                <a:solidFill>
                  <a:srgbClr val="FFFFFF"/>
                </a:solidFill>
                <a:latin typeface="Trebuchet MS"/>
                <a:cs typeface="Trebuchet MS"/>
              </a:rPr>
              <a:t>a</a:t>
            </a:r>
            <a:r>
              <a:rPr sz="1600" spc="-40">
                <a:solidFill>
                  <a:srgbClr val="FFFFFF"/>
                </a:solidFill>
                <a:latin typeface="Trebuchet MS"/>
                <a:cs typeface="Trebuchet MS"/>
              </a:rPr>
              <a:t>n</a:t>
            </a:r>
            <a:r>
              <a:rPr sz="1600" spc="-125">
                <a:solidFill>
                  <a:srgbClr val="FFFFFF"/>
                </a:solidFill>
                <a:latin typeface="Trebuchet MS"/>
                <a:cs typeface="Trebuchet MS"/>
              </a:rPr>
              <a:t>c</a:t>
            </a:r>
            <a:r>
              <a:rPr sz="1600" spc="-80">
                <a:solidFill>
                  <a:srgbClr val="FFFFFF"/>
                </a:solidFill>
                <a:latin typeface="Trebuchet MS"/>
                <a:cs typeface="Trebuchet MS"/>
              </a:rPr>
              <a:t>e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58" name="object 5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11</a:t>
            </a:fld>
            <a:endParaRPr spc="-2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163957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5">
                <a:solidFill>
                  <a:srgbClr val="FFFFFF"/>
                </a:solidFill>
              </a:rPr>
              <a:t>M</a:t>
            </a:r>
            <a:r>
              <a:rPr sz="4400" spc="-80">
                <a:solidFill>
                  <a:srgbClr val="FFFFFF"/>
                </a:solidFill>
              </a:rPr>
              <a:t>L</a:t>
            </a:r>
            <a:r>
              <a:rPr sz="4400" spc="-125">
                <a:solidFill>
                  <a:srgbClr val="FFFFFF"/>
                </a:solidFill>
              </a:rPr>
              <a:t>O</a:t>
            </a:r>
            <a:r>
              <a:rPr sz="4400" spc="-229">
                <a:solidFill>
                  <a:srgbClr val="FFFFFF"/>
                </a:solidFill>
              </a:rPr>
              <a:t>p</a:t>
            </a:r>
            <a:r>
              <a:rPr sz="4400" spc="-140">
                <a:solidFill>
                  <a:srgbClr val="FFFFFF"/>
                </a:solidFill>
              </a:rPr>
              <a:t>s</a:t>
            </a:r>
            <a:endParaRPr sz="440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917846" y="6401815"/>
            <a:ext cx="25742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800" spc="-40">
                <a:latin typeface="Trebuchet MS"/>
                <a:cs typeface="Trebuchet MS"/>
              </a:rPr>
              <a:t>3)</a:t>
            </a:r>
            <a:r>
              <a:rPr sz="800" spc="-70">
                <a:latin typeface="Trebuchet MS"/>
                <a:cs typeface="Trebuchet MS"/>
              </a:rPr>
              <a:t> </a:t>
            </a:r>
            <a:r>
              <a:rPr sz="800" spc="-20">
                <a:solidFill>
                  <a:srgbClr val="6C03A8"/>
                </a:solidFill>
                <a:latin typeface="Trebuchet MS"/>
                <a:cs typeface="Trebuchet MS"/>
              </a:rPr>
              <a:t>How</a:t>
            </a:r>
            <a:r>
              <a:rPr sz="800" spc="-5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25">
                <a:solidFill>
                  <a:srgbClr val="6C03A8"/>
                </a:solidFill>
                <a:latin typeface="Trebuchet MS"/>
                <a:cs typeface="Trebuchet MS"/>
              </a:rPr>
              <a:t>277</a:t>
            </a:r>
            <a:r>
              <a:rPr sz="800" spc="-7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15">
                <a:solidFill>
                  <a:srgbClr val="6C03A8"/>
                </a:solidFill>
                <a:latin typeface="Trebuchet MS"/>
                <a:cs typeface="Trebuchet MS"/>
              </a:rPr>
              <a:t>Major</a:t>
            </a:r>
            <a:r>
              <a:rPr sz="800" spc="-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114">
                <a:solidFill>
                  <a:srgbClr val="6C03A8"/>
                </a:solidFill>
                <a:latin typeface="Trebuchet MS"/>
                <a:cs typeface="Trebuchet MS"/>
              </a:rPr>
              <a:t>Compan</a:t>
            </a:r>
            <a:r>
              <a:rPr sz="1350" spc="-172" baseline="-27777">
                <a:solidFill>
                  <a:srgbClr val="BFBFBF"/>
                </a:solidFill>
                <a:latin typeface="Trebuchet MS"/>
                <a:cs typeface="Trebuchet MS"/>
              </a:rPr>
              <a:t>1</a:t>
            </a:r>
            <a:r>
              <a:rPr sz="800" spc="-114">
                <a:solidFill>
                  <a:srgbClr val="6C03A8"/>
                </a:solidFill>
                <a:latin typeface="Trebuchet MS"/>
                <a:cs typeface="Trebuchet MS"/>
              </a:rPr>
              <a:t>ie</a:t>
            </a:r>
            <a:r>
              <a:rPr sz="1350" spc="-172" baseline="-27777">
                <a:solidFill>
                  <a:srgbClr val="BFBFBF"/>
                </a:solidFill>
                <a:latin typeface="Trebuchet MS"/>
                <a:cs typeface="Trebuchet MS"/>
              </a:rPr>
              <a:t>3</a:t>
            </a:r>
            <a:r>
              <a:rPr sz="800" spc="-114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800" spc="-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40">
                <a:solidFill>
                  <a:srgbClr val="6C03A8"/>
                </a:solidFill>
                <a:latin typeface="Trebuchet MS"/>
                <a:cs typeface="Trebuchet MS"/>
              </a:rPr>
              <a:t>Benefit</a:t>
            </a:r>
            <a:r>
              <a:rPr sz="800" spc="-7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30">
                <a:solidFill>
                  <a:srgbClr val="6C03A8"/>
                </a:solidFill>
                <a:latin typeface="Trebuchet MS"/>
                <a:cs typeface="Trebuchet MS"/>
              </a:rPr>
              <a:t>from</a:t>
            </a:r>
            <a:r>
              <a:rPr sz="800" spc="-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20">
                <a:solidFill>
                  <a:srgbClr val="6C03A8"/>
                </a:solidFill>
                <a:latin typeface="Trebuchet MS"/>
                <a:cs typeface="Trebuchet MS"/>
              </a:rPr>
              <a:t>AI</a:t>
            </a:r>
            <a:r>
              <a:rPr sz="800" spc="-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spc="-40">
                <a:solidFill>
                  <a:srgbClr val="6C03A8"/>
                </a:solidFill>
                <a:latin typeface="Trebuchet MS"/>
                <a:cs typeface="Trebuchet MS"/>
              </a:rPr>
              <a:t>(Microsoft/EY)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75"/>
              </a:spcBef>
            </a:pPr>
            <a:r>
              <a:rPr spc="-50"/>
              <a:t>AI</a:t>
            </a:r>
            <a:r>
              <a:rPr spc="-190"/>
              <a:t> </a:t>
            </a:r>
            <a:r>
              <a:rPr spc="-114"/>
              <a:t>and</a:t>
            </a:r>
            <a:r>
              <a:rPr spc="-190"/>
              <a:t> </a:t>
            </a:r>
            <a:r>
              <a:rPr spc="-145"/>
              <a:t>machine</a:t>
            </a:r>
            <a:r>
              <a:rPr spc="-185"/>
              <a:t> </a:t>
            </a:r>
            <a:r>
              <a:rPr spc="-130"/>
              <a:t>learning</a:t>
            </a:r>
            <a:r>
              <a:rPr spc="-190"/>
              <a:t> </a:t>
            </a:r>
            <a:r>
              <a:rPr spc="-105"/>
              <a:t>has</a:t>
            </a:r>
            <a:r>
              <a:rPr spc="-185"/>
              <a:t> </a:t>
            </a:r>
            <a:r>
              <a:rPr spc="-95"/>
              <a:t>a</a:t>
            </a:r>
            <a:r>
              <a:rPr spc="-185"/>
              <a:t> </a:t>
            </a:r>
            <a:r>
              <a:rPr spc="-120"/>
              <a:t>vast</a:t>
            </a:r>
            <a:r>
              <a:rPr spc="-180"/>
              <a:t> </a:t>
            </a:r>
            <a:r>
              <a:rPr spc="-140"/>
              <a:t>potential,</a:t>
            </a:r>
            <a:r>
              <a:rPr spc="-180"/>
              <a:t> </a:t>
            </a:r>
            <a:r>
              <a:rPr spc="-114"/>
              <a:t>and</a:t>
            </a:r>
            <a:r>
              <a:rPr spc="-190"/>
              <a:t> </a:t>
            </a:r>
            <a:r>
              <a:rPr spc="-130"/>
              <a:t>companies</a:t>
            </a:r>
            <a:r>
              <a:rPr spc="-185"/>
              <a:t> </a:t>
            </a:r>
            <a:r>
              <a:rPr spc="-135"/>
              <a:t>needs</a:t>
            </a:r>
            <a:r>
              <a:rPr spc="-185"/>
              <a:t> </a:t>
            </a:r>
            <a:r>
              <a:rPr spc="-105"/>
              <a:t>to</a:t>
            </a:r>
            <a:r>
              <a:rPr spc="-190"/>
              <a:t> </a:t>
            </a:r>
            <a:r>
              <a:rPr spc="-120"/>
              <a:t>shift</a:t>
            </a:r>
            <a:r>
              <a:rPr spc="-180"/>
              <a:t> </a:t>
            </a:r>
            <a:r>
              <a:rPr spc="-130"/>
              <a:t>from  </a:t>
            </a:r>
            <a:r>
              <a:rPr spc="-114"/>
              <a:t>piloting</a:t>
            </a:r>
            <a:r>
              <a:rPr spc="-190"/>
              <a:t> </a:t>
            </a:r>
            <a:r>
              <a:rPr spc="-105"/>
              <a:t>to</a:t>
            </a:r>
            <a:r>
              <a:rPr spc="-190"/>
              <a:t> </a:t>
            </a:r>
            <a:r>
              <a:rPr spc="-125"/>
              <a:t>scaling</a:t>
            </a:r>
            <a:r>
              <a:rPr spc="-185"/>
              <a:t> </a:t>
            </a:r>
            <a:r>
              <a:rPr spc="-125"/>
              <a:t>up</a:t>
            </a:r>
            <a:r>
              <a:rPr spc="-190"/>
              <a:t> </a:t>
            </a:r>
            <a:r>
              <a:rPr spc="-114"/>
              <a:t>and</a:t>
            </a:r>
            <a:r>
              <a:rPr spc="-190"/>
              <a:t> </a:t>
            </a:r>
            <a:r>
              <a:rPr spc="-135"/>
              <a:t>operationalizing</a:t>
            </a:r>
            <a:r>
              <a:rPr spc="-185"/>
              <a:t> </a:t>
            </a:r>
            <a:r>
              <a:rPr spc="-135"/>
              <a:t>in</a:t>
            </a:r>
            <a:r>
              <a:rPr spc="-190"/>
              <a:t> </a:t>
            </a:r>
            <a:r>
              <a:rPr spc="-150"/>
              <a:t>order</a:t>
            </a:r>
            <a:r>
              <a:rPr spc="-190"/>
              <a:t> </a:t>
            </a:r>
            <a:r>
              <a:rPr spc="-105"/>
              <a:t>to</a:t>
            </a:r>
            <a:r>
              <a:rPr spc="-185"/>
              <a:t> </a:t>
            </a:r>
            <a:r>
              <a:rPr spc="-135"/>
              <a:t>stay</a:t>
            </a:r>
            <a:r>
              <a:rPr spc="-185"/>
              <a:t> </a:t>
            </a:r>
            <a:r>
              <a:rPr spc="-145"/>
              <a:t>competitiv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714142" y="6408420"/>
            <a:ext cx="3418840" cy="281940"/>
          </a:xfrm>
          <a:prstGeom prst="rect">
            <a:avLst/>
          </a:prstGeom>
        </p:spPr>
        <p:txBody>
          <a:bodyPr vert="horz" wrap="square" lIns="0" tIns="18415" rIns="0" bIns="0" rtlCol="0">
            <a:spAutoFit/>
          </a:bodyPr>
          <a:lstStyle/>
          <a:p>
            <a:pPr marL="115570" indent="-103505">
              <a:lnSpc>
                <a:spcPct val="100000"/>
              </a:lnSpc>
              <a:spcBef>
                <a:spcPts val="145"/>
              </a:spcBef>
              <a:buClr>
                <a:srgbClr val="000000"/>
              </a:buClr>
              <a:buAutoNum type="arabicParenR"/>
              <a:tabLst>
                <a:tab pos="116205" algn="l"/>
              </a:tabLst>
            </a:pP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how-artificial-intelligence-will-transform-nordic-businesses.pdf</a:t>
            </a:r>
            <a:r>
              <a:rPr sz="800" u="sng" spc="-2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(mckinsey.com)</a:t>
            </a:r>
            <a:endParaRPr sz="800">
              <a:latin typeface="Trebuchet MS"/>
              <a:cs typeface="Trebuchet MS"/>
            </a:endParaRPr>
          </a:p>
          <a:p>
            <a:pPr marL="115570" indent="-103505">
              <a:lnSpc>
                <a:spcPct val="100000"/>
              </a:lnSpc>
              <a:spcBef>
                <a:spcPts val="50"/>
              </a:spcBef>
              <a:buClr>
                <a:srgbClr val="000000"/>
              </a:buClr>
              <a:buAutoNum type="arabicParenR"/>
              <a:tabLst>
                <a:tab pos="116205" algn="l"/>
              </a:tabLst>
            </a:pPr>
            <a:r>
              <a:rPr sz="800" u="sng" spc="-4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The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Impact</a:t>
            </a:r>
            <a:r>
              <a:rPr sz="800" u="sng" spc="-7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3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of</a:t>
            </a:r>
            <a:r>
              <a:rPr sz="800" u="sng" spc="-6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Artificial</a:t>
            </a:r>
            <a:r>
              <a:rPr sz="800" u="sng" spc="-6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Intelligence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1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on</a:t>
            </a:r>
            <a:r>
              <a:rPr sz="800" u="sng" spc="-6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the</a:t>
            </a:r>
            <a:r>
              <a:rPr sz="800" u="sng" spc="-6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2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World</a:t>
            </a:r>
            <a:r>
              <a:rPr sz="800" u="sng" spc="-6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3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Economy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10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–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WSJ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057546" y="6542637"/>
            <a:ext cx="2400300" cy="12700"/>
          </a:xfrm>
          <a:custGeom>
            <a:avLst/>
            <a:gdLst/>
            <a:ahLst/>
            <a:cxnLst/>
            <a:rect l="l" t="t" r="r" b="b"/>
            <a:pathLst>
              <a:path w="2400300" h="12700">
                <a:moveTo>
                  <a:pt x="2400299" y="0"/>
                </a:moveTo>
                <a:lnTo>
                  <a:pt x="0" y="0"/>
                </a:lnTo>
                <a:lnTo>
                  <a:pt x="0" y="12699"/>
                </a:lnTo>
                <a:lnTo>
                  <a:pt x="2400299" y="12699"/>
                </a:lnTo>
                <a:lnTo>
                  <a:pt x="2400299" y="0"/>
                </a:lnTo>
                <a:close/>
              </a:path>
            </a:pathLst>
          </a:custGeom>
          <a:solidFill>
            <a:srgbClr val="6C03A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943246" y="6542532"/>
            <a:ext cx="1948814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40">
                <a:latin typeface="Trebuchet MS"/>
                <a:cs typeface="Trebuchet MS"/>
              </a:rPr>
              <a:t>4)</a:t>
            </a:r>
            <a:r>
              <a:rPr sz="800" spc="-8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Gartner</a:t>
            </a:r>
            <a:r>
              <a:rPr sz="800" u="sng" spc="-7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5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-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3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Trends</a:t>
            </a:r>
            <a:r>
              <a:rPr sz="800" u="sng" spc="-7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3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for</a:t>
            </a:r>
            <a:r>
              <a:rPr sz="800" u="sng" spc="-7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data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3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and</a:t>
            </a:r>
            <a:r>
              <a:rPr sz="800" u="sng" spc="-7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40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analytics</a:t>
            </a:r>
            <a:r>
              <a:rPr sz="800" u="sng" spc="-7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 </a:t>
            </a:r>
            <a:r>
              <a:rPr sz="800" u="sng" spc="-25">
                <a:solidFill>
                  <a:srgbClr val="6C03A8"/>
                </a:solidFill>
                <a:uFill>
                  <a:solidFill>
                    <a:srgbClr val="6C03A8"/>
                  </a:solidFill>
                </a:uFill>
                <a:latin typeface="Trebuchet MS"/>
                <a:cs typeface="Trebuchet MS"/>
              </a:rPr>
              <a:t>2020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821294" y="1702371"/>
            <a:ext cx="241058" cy="3908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117458" y="1922640"/>
            <a:ext cx="145554" cy="407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314942" y="1697507"/>
            <a:ext cx="693205" cy="40639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344510" y="2343403"/>
            <a:ext cx="1791335" cy="57721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7465" marR="30480" indent="635" algn="ctr">
              <a:lnSpc>
                <a:spcPct val="100800"/>
              </a:lnSpc>
              <a:spcBef>
                <a:spcPts val="85"/>
              </a:spcBef>
            </a:pPr>
            <a:r>
              <a:rPr sz="1200" spc="-65">
                <a:solidFill>
                  <a:srgbClr val="646464"/>
                </a:solidFill>
                <a:latin typeface="Trebuchet MS"/>
                <a:cs typeface="Trebuchet MS"/>
              </a:rPr>
              <a:t>percentage </a:t>
            </a:r>
            <a:r>
              <a:rPr sz="1200" spc="-45">
                <a:solidFill>
                  <a:srgbClr val="646464"/>
                </a:solidFill>
                <a:latin typeface="Trebuchet MS"/>
                <a:cs typeface="Trebuchet MS"/>
              </a:rPr>
              <a:t>points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in </a:t>
            </a:r>
            <a:r>
              <a:rPr sz="1200" b="1" spc="-65">
                <a:solidFill>
                  <a:srgbClr val="646464"/>
                </a:solidFill>
                <a:latin typeface="Trebuchet MS"/>
                <a:cs typeface="Trebuchet MS"/>
              </a:rPr>
              <a:t>profit  margin </a:t>
            </a:r>
            <a:r>
              <a:rPr sz="1200" b="1" spc="-60">
                <a:solidFill>
                  <a:srgbClr val="646464"/>
                </a:solidFill>
                <a:latin typeface="Trebuchet MS"/>
                <a:cs typeface="Trebuchet MS"/>
              </a:rPr>
              <a:t>uplift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in </a:t>
            </a:r>
            <a:r>
              <a:rPr sz="1200" spc="-60">
                <a:solidFill>
                  <a:srgbClr val="646464"/>
                </a:solidFill>
                <a:latin typeface="Trebuchet MS"/>
                <a:cs typeface="Trebuchet MS"/>
              </a:rPr>
              <a:t>the</a:t>
            </a:r>
            <a:r>
              <a:rPr sz="1200" spc="-220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spc="-45">
                <a:solidFill>
                  <a:srgbClr val="646464"/>
                </a:solidFill>
                <a:latin typeface="Trebuchet MS"/>
                <a:cs typeface="Trebuchet MS"/>
              </a:rPr>
              <a:t>Nordics  </a:t>
            </a:r>
            <a:r>
              <a:rPr sz="1200" spc="-55">
                <a:solidFill>
                  <a:srgbClr val="646464"/>
                </a:solidFill>
                <a:latin typeface="Trebuchet MS"/>
                <a:cs typeface="Trebuchet MS"/>
              </a:rPr>
              <a:t>by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adopting</a:t>
            </a:r>
            <a:r>
              <a:rPr sz="1200" spc="-145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spc="-20">
                <a:solidFill>
                  <a:srgbClr val="646464"/>
                </a:solidFill>
                <a:latin typeface="Trebuchet MS"/>
                <a:cs typeface="Trebuchet MS"/>
              </a:rPr>
              <a:t>AI</a:t>
            </a:r>
            <a:r>
              <a:rPr sz="1200" spc="-30" baseline="27777">
                <a:solidFill>
                  <a:srgbClr val="646464"/>
                </a:solidFill>
                <a:latin typeface="Trebuchet MS"/>
                <a:cs typeface="Trebuchet MS"/>
              </a:rPr>
              <a:t>1</a:t>
            </a:r>
            <a:endParaRPr sz="1200" baseline="27777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409357" y="3879595"/>
            <a:ext cx="1931670" cy="39751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320675" marR="30480" indent="-283210">
              <a:lnSpc>
                <a:spcPct val="103299"/>
              </a:lnSpc>
              <a:spcBef>
                <a:spcPts val="50"/>
              </a:spcBef>
            </a:pPr>
            <a:r>
              <a:rPr sz="1200" b="1" spc="-80">
                <a:solidFill>
                  <a:srgbClr val="646464"/>
                </a:solidFill>
                <a:latin typeface="Trebuchet MS"/>
                <a:cs typeface="Trebuchet MS"/>
              </a:rPr>
              <a:t>increase </a:t>
            </a:r>
            <a:r>
              <a:rPr sz="1200" b="1" spc="-65">
                <a:solidFill>
                  <a:srgbClr val="646464"/>
                </a:solidFill>
                <a:latin typeface="Trebuchet MS"/>
                <a:cs typeface="Trebuchet MS"/>
              </a:rPr>
              <a:t>in </a:t>
            </a:r>
            <a:r>
              <a:rPr sz="1200" b="1" spc="-50">
                <a:solidFill>
                  <a:srgbClr val="646464"/>
                </a:solidFill>
                <a:latin typeface="Trebuchet MS"/>
                <a:cs typeface="Trebuchet MS"/>
              </a:rPr>
              <a:t>global </a:t>
            </a:r>
            <a:r>
              <a:rPr sz="1200" b="1" spc="-45">
                <a:solidFill>
                  <a:srgbClr val="646464"/>
                </a:solidFill>
                <a:latin typeface="Trebuchet MS"/>
                <a:cs typeface="Trebuchet MS"/>
              </a:rPr>
              <a:t>GDP</a:t>
            </a:r>
            <a:r>
              <a:rPr sz="1200" b="1" spc="-175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b="1" spc="-60">
                <a:solidFill>
                  <a:srgbClr val="646464"/>
                </a:solidFill>
                <a:latin typeface="Trebuchet MS"/>
                <a:cs typeface="Trebuchet MS"/>
              </a:rPr>
              <a:t>within  </a:t>
            </a:r>
            <a:r>
              <a:rPr sz="1200" b="1" spc="-95">
                <a:solidFill>
                  <a:srgbClr val="646464"/>
                </a:solidFill>
                <a:latin typeface="Trebuchet MS"/>
                <a:cs typeface="Trebuchet MS"/>
              </a:rPr>
              <a:t>2030 </a:t>
            </a:r>
            <a:r>
              <a:rPr sz="1200" spc="-55">
                <a:solidFill>
                  <a:srgbClr val="646464"/>
                </a:solidFill>
                <a:latin typeface="Trebuchet MS"/>
                <a:cs typeface="Trebuchet MS"/>
              </a:rPr>
              <a:t>by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adopting</a:t>
            </a:r>
            <a:r>
              <a:rPr sz="1200" spc="-145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spc="-20">
                <a:solidFill>
                  <a:srgbClr val="646464"/>
                </a:solidFill>
                <a:latin typeface="Trebuchet MS"/>
                <a:cs typeface="Trebuchet MS"/>
              </a:rPr>
              <a:t>AI</a:t>
            </a:r>
            <a:r>
              <a:rPr sz="1200" spc="-30" baseline="27777">
                <a:solidFill>
                  <a:srgbClr val="646464"/>
                </a:solidFill>
                <a:latin typeface="Trebuchet MS"/>
                <a:cs typeface="Trebuchet MS"/>
              </a:rPr>
              <a:t>2</a:t>
            </a:r>
            <a:endParaRPr sz="1200" baseline="27777">
              <a:latin typeface="Trebuchet MS"/>
              <a:cs typeface="Trebuchet M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899234" y="3227476"/>
            <a:ext cx="981671" cy="40639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910486" y="4777244"/>
            <a:ext cx="1003998" cy="4063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284757" y="5415788"/>
            <a:ext cx="2249170" cy="57721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8100" marR="30480" indent="-1270" algn="ctr">
              <a:lnSpc>
                <a:spcPct val="100800"/>
              </a:lnSpc>
              <a:spcBef>
                <a:spcPts val="85"/>
              </a:spcBef>
            </a:pPr>
            <a:r>
              <a:rPr sz="1200" spc="-45">
                <a:solidFill>
                  <a:srgbClr val="646464"/>
                </a:solidFill>
                <a:latin typeface="Trebuchet MS"/>
                <a:cs typeface="Trebuchet MS"/>
              </a:rPr>
              <a:t>of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companies </a:t>
            </a:r>
            <a:r>
              <a:rPr sz="1200" spc="-40">
                <a:solidFill>
                  <a:srgbClr val="646464"/>
                </a:solidFill>
                <a:latin typeface="Trebuchet MS"/>
                <a:cs typeface="Trebuchet MS"/>
              </a:rPr>
              <a:t>respond </a:t>
            </a:r>
            <a:r>
              <a:rPr sz="1200" spc="-65">
                <a:solidFill>
                  <a:srgbClr val="646464"/>
                </a:solidFill>
                <a:latin typeface="Trebuchet MS"/>
                <a:cs typeface="Trebuchet MS"/>
              </a:rPr>
              <a:t>that </a:t>
            </a:r>
            <a:r>
              <a:rPr sz="1200" spc="-25">
                <a:solidFill>
                  <a:srgbClr val="646464"/>
                </a:solidFill>
                <a:latin typeface="Trebuchet MS"/>
                <a:cs typeface="Trebuchet MS"/>
              </a:rPr>
              <a:t>AI </a:t>
            </a:r>
            <a:r>
              <a:rPr sz="1200" spc="-45">
                <a:solidFill>
                  <a:srgbClr val="646464"/>
                </a:solidFill>
                <a:latin typeface="Trebuchet MS"/>
                <a:cs typeface="Trebuchet MS"/>
              </a:rPr>
              <a:t>is  </a:t>
            </a:r>
            <a:r>
              <a:rPr sz="1200" spc="-50">
                <a:solidFill>
                  <a:srgbClr val="646464"/>
                </a:solidFill>
                <a:latin typeface="Trebuchet MS"/>
                <a:cs typeface="Trebuchet MS"/>
              </a:rPr>
              <a:t>considered </a:t>
            </a:r>
            <a:r>
              <a:rPr sz="1200" spc="-90">
                <a:solidFill>
                  <a:srgbClr val="646464"/>
                </a:solidFill>
                <a:latin typeface="Trebuchet MS"/>
                <a:cs typeface="Trebuchet MS"/>
              </a:rPr>
              <a:t>‘</a:t>
            </a:r>
            <a:r>
              <a:rPr sz="1200" b="1" spc="-90">
                <a:solidFill>
                  <a:srgbClr val="646464"/>
                </a:solidFill>
                <a:latin typeface="Trebuchet MS"/>
                <a:cs typeface="Trebuchet MS"/>
              </a:rPr>
              <a:t>an </a:t>
            </a:r>
            <a:r>
              <a:rPr sz="1200" b="1" spc="-65">
                <a:solidFill>
                  <a:srgbClr val="646464"/>
                </a:solidFill>
                <a:latin typeface="Trebuchet MS"/>
                <a:cs typeface="Trebuchet MS"/>
              </a:rPr>
              <a:t>important </a:t>
            </a:r>
            <a:r>
              <a:rPr sz="1200" b="1" spc="-80">
                <a:solidFill>
                  <a:srgbClr val="646464"/>
                </a:solidFill>
                <a:latin typeface="Trebuchet MS"/>
                <a:cs typeface="Trebuchet MS"/>
              </a:rPr>
              <a:t>topic</a:t>
            </a:r>
            <a:r>
              <a:rPr sz="1200" spc="-80">
                <a:solidFill>
                  <a:srgbClr val="646464"/>
                </a:solidFill>
                <a:latin typeface="Trebuchet MS"/>
                <a:cs typeface="Trebuchet MS"/>
              </a:rPr>
              <a:t>’</a:t>
            </a:r>
            <a:r>
              <a:rPr sz="1200" spc="-195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spc="-20">
                <a:solidFill>
                  <a:srgbClr val="646464"/>
                </a:solidFill>
                <a:latin typeface="Trebuchet MS"/>
                <a:cs typeface="Trebuchet MS"/>
              </a:rPr>
              <a:t>on  </a:t>
            </a:r>
            <a:r>
              <a:rPr sz="1200" spc="-60">
                <a:solidFill>
                  <a:srgbClr val="646464"/>
                </a:solidFill>
                <a:latin typeface="Trebuchet MS"/>
                <a:cs typeface="Trebuchet MS"/>
              </a:rPr>
              <a:t>the </a:t>
            </a:r>
            <a:r>
              <a:rPr sz="1200" spc="-70">
                <a:solidFill>
                  <a:srgbClr val="646464"/>
                </a:solidFill>
                <a:latin typeface="Trebuchet MS"/>
                <a:cs typeface="Trebuchet MS"/>
              </a:rPr>
              <a:t>executive </a:t>
            </a:r>
            <a:r>
              <a:rPr sz="1200" spc="-55">
                <a:solidFill>
                  <a:srgbClr val="646464"/>
                </a:solidFill>
                <a:latin typeface="Trebuchet MS"/>
                <a:cs typeface="Trebuchet MS"/>
              </a:rPr>
              <a:t>management</a:t>
            </a:r>
            <a:r>
              <a:rPr sz="1200" spc="-145">
                <a:solidFill>
                  <a:srgbClr val="646464"/>
                </a:solidFill>
                <a:latin typeface="Trebuchet MS"/>
                <a:cs typeface="Trebuchet MS"/>
              </a:rPr>
              <a:t> </a:t>
            </a:r>
            <a:r>
              <a:rPr sz="1200" spc="-65">
                <a:solidFill>
                  <a:srgbClr val="646464"/>
                </a:solidFill>
                <a:latin typeface="Trebuchet MS"/>
                <a:cs typeface="Trebuchet MS"/>
              </a:rPr>
              <a:t>level</a:t>
            </a:r>
            <a:r>
              <a:rPr sz="1200" spc="-97" baseline="27777">
                <a:solidFill>
                  <a:srgbClr val="646464"/>
                </a:solidFill>
                <a:latin typeface="Trebuchet MS"/>
                <a:cs typeface="Trebuchet MS"/>
              </a:rPr>
              <a:t>3</a:t>
            </a:r>
            <a:endParaRPr sz="1200" baseline="27777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58460">
              <a:lnSpc>
                <a:spcPts val="4760"/>
              </a:lnSpc>
            </a:pPr>
            <a:r>
              <a:rPr sz="17250" baseline="-1932">
                <a:latin typeface="BM HANNA 11yrs old OTF"/>
                <a:cs typeface="BM HANNA 11yrs old OTF"/>
              </a:rPr>
              <a:t>"</a:t>
            </a:r>
            <a:r>
              <a:rPr sz="17250" spc="-3862" baseline="-1932">
                <a:latin typeface="BM HANNA 11yrs old OTF"/>
                <a:cs typeface="BM HANNA 11yrs old OTF"/>
              </a:rPr>
              <a:t> </a:t>
            </a:r>
            <a:r>
              <a:rPr sz="3200" spc="-120"/>
              <a:t>By </a:t>
            </a:r>
            <a:r>
              <a:rPr sz="3200" spc="-140"/>
              <a:t>the </a:t>
            </a:r>
            <a:r>
              <a:rPr sz="3200" spc="-110"/>
              <a:t>end </a:t>
            </a:r>
            <a:r>
              <a:rPr sz="3200" spc="-125"/>
              <a:t>of 2024, </a:t>
            </a:r>
            <a:r>
              <a:rPr sz="3200" spc="80"/>
              <a:t>75%</a:t>
            </a:r>
            <a:endParaRPr sz="3200">
              <a:latin typeface="BM HANNA 11yrs old OTF"/>
              <a:cs typeface="BM HANNA 11yrs old OTF"/>
            </a:endParaRPr>
          </a:p>
          <a:p>
            <a:pPr marL="6259830">
              <a:lnSpc>
                <a:spcPts val="3000"/>
              </a:lnSpc>
            </a:pPr>
            <a:r>
              <a:rPr spc="-125"/>
              <a:t>of </a:t>
            </a:r>
            <a:r>
              <a:rPr spc="-135"/>
              <a:t>enterprises </a:t>
            </a:r>
            <a:r>
              <a:rPr spc="-175"/>
              <a:t>will</a:t>
            </a:r>
            <a:r>
              <a:rPr spc="-484"/>
              <a:t> </a:t>
            </a:r>
            <a:r>
              <a:rPr spc="-140"/>
              <a:t>shift</a:t>
            </a:r>
          </a:p>
          <a:p>
            <a:pPr marL="6259830" marR="769620">
              <a:lnSpc>
                <a:spcPts val="3790"/>
              </a:lnSpc>
              <a:spcBef>
                <a:spcPts val="215"/>
              </a:spcBef>
            </a:pPr>
            <a:r>
              <a:rPr spc="-135"/>
              <a:t>from piloting </a:t>
            </a:r>
            <a:r>
              <a:rPr spc="-130"/>
              <a:t>to  </a:t>
            </a:r>
            <a:r>
              <a:rPr spc="-145"/>
              <a:t>operationalizing </a:t>
            </a:r>
            <a:r>
              <a:rPr spc="-65"/>
              <a:t>AI</a:t>
            </a:r>
            <a:r>
              <a:rPr spc="-565"/>
              <a:t> </a:t>
            </a:r>
            <a:r>
              <a:rPr sz="2700" spc="569" baseline="26234"/>
              <a:t>!</a:t>
            </a:r>
            <a:endParaRPr sz="2700" baseline="26234"/>
          </a:p>
        </p:txBody>
      </p:sp>
      <p:sp>
        <p:nvSpPr>
          <p:cNvPr id="16" name="object 16"/>
          <p:cNvSpPr/>
          <p:nvPr/>
        </p:nvSpPr>
        <p:spPr>
          <a:xfrm>
            <a:off x="4917897" y="2439509"/>
            <a:ext cx="0" cy="2620645"/>
          </a:xfrm>
          <a:custGeom>
            <a:avLst/>
            <a:gdLst/>
            <a:ahLst/>
            <a:cxnLst/>
            <a:rect l="l" t="t" r="r" b="b"/>
            <a:pathLst>
              <a:path h="2620645">
                <a:moveTo>
                  <a:pt x="0" y="2620411"/>
                </a:moveTo>
                <a:lnTo>
                  <a:pt x="1" y="0"/>
                </a:lnTo>
              </a:path>
            </a:pathLst>
          </a:custGeom>
          <a:ln w="6350">
            <a:solidFill>
              <a:srgbClr val="B7B1A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317601" y="3190087"/>
            <a:ext cx="9538358" cy="42683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0287927" y="4306316"/>
            <a:ext cx="5873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i="1" spc="-75">
                <a:latin typeface="Trebuchet MS"/>
                <a:cs typeface="Trebuchet MS"/>
              </a:rPr>
              <a:t>-</a:t>
            </a:r>
            <a:r>
              <a:rPr sz="1200" i="1" spc="-150">
                <a:latin typeface="Trebuchet MS"/>
                <a:cs typeface="Trebuchet MS"/>
              </a:rPr>
              <a:t> </a:t>
            </a:r>
            <a:r>
              <a:rPr sz="1200" i="1" spc="-70">
                <a:latin typeface="Trebuchet MS"/>
                <a:cs typeface="Trebuchet MS"/>
              </a:rPr>
              <a:t>Gartner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288707" y="2045714"/>
            <a:ext cx="404304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0" spc="-155">
                <a:solidFill>
                  <a:srgbClr val="595959"/>
                </a:solidFill>
                <a:latin typeface="Trebuchet MS"/>
                <a:cs typeface="Trebuchet MS"/>
              </a:rPr>
              <a:t>The reality </a:t>
            </a:r>
            <a:r>
              <a:rPr sz="2800" b="0" spc="-130">
                <a:solidFill>
                  <a:srgbClr val="595959"/>
                </a:solidFill>
                <a:latin typeface="Trebuchet MS"/>
                <a:cs typeface="Trebuchet MS"/>
              </a:rPr>
              <a:t>for </a:t>
            </a:r>
            <a:r>
              <a:rPr sz="2800" b="0" spc="-114">
                <a:solidFill>
                  <a:srgbClr val="595959"/>
                </a:solidFill>
                <a:latin typeface="Trebuchet MS"/>
                <a:cs typeface="Trebuchet MS"/>
              </a:rPr>
              <a:t>many </a:t>
            </a:r>
            <a:r>
              <a:rPr sz="2800" b="0" spc="-105">
                <a:solidFill>
                  <a:srgbClr val="595959"/>
                </a:solidFill>
                <a:latin typeface="Trebuchet MS"/>
                <a:cs typeface="Trebuchet MS"/>
              </a:rPr>
              <a:t>is</a:t>
            </a:r>
            <a:r>
              <a:rPr sz="2800" b="0" spc="-560">
                <a:solidFill>
                  <a:srgbClr val="595959"/>
                </a:solidFill>
                <a:latin typeface="Trebuchet MS"/>
                <a:cs typeface="Trebuchet MS"/>
              </a:rPr>
              <a:t> </a:t>
            </a:r>
            <a:r>
              <a:rPr sz="2800" b="0" spc="-155">
                <a:solidFill>
                  <a:srgbClr val="595959"/>
                </a:solidFill>
                <a:latin typeface="Trebuchet MS"/>
                <a:cs typeface="Trebuchet MS"/>
              </a:rPr>
              <a:t>still…</a:t>
            </a:r>
            <a:endParaRPr sz="28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115315"/>
            <a:ext cx="10969625" cy="768031"/>
          </a:xfrm>
          <a:prstGeom prst="rect">
            <a:avLst/>
          </a:prstGeom>
        </p:spPr>
        <p:txBody>
          <a:bodyPr vert="horz" wrap="square" lIns="0" tIns="100203" rIns="0" bIns="0" rtlCol="0">
            <a:spAutoFit/>
          </a:bodyPr>
          <a:lstStyle/>
          <a:p>
            <a:pPr marL="12700" marR="5080">
              <a:lnSpc>
                <a:spcPts val="2620"/>
              </a:lnSpc>
              <a:spcBef>
                <a:spcPts val="204"/>
              </a:spcBef>
            </a:pPr>
            <a:r>
              <a:rPr sz="2200" spc="-130"/>
              <a:t>After </a:t>
            </a:r>
            <a:r>
              <a:rPr sz="2200" spc="-90"/>
              <a:t>a </a:t>
            </a:r>
            <a:r>
              <a:rPr sz="2200" spc="-130"/>
              <a:t>successful </a:t>
            </a:r>
            <a:r>
              <a:rPr sz="2200" spc="-120"/>
              <a:t>start </a:t>
            </a:r>
            <a:r>
              <a:rPr sz="2200" spc="-145"/>
              <a:t>where </a:t>
            </a:r>
            <a:r>
              <a:rPr sz="2200" spc="-110"/>
              <a:t>data </a:t>
            </a:r>
            <a:r>
              <a:rPr sz="2200" spc="-135"/>
              <a:t>driven </a:t>
            </a:r>
            <a:r>
              <a:rPr sz="2200" spc="-125"/>
              <a:t>improvements </a:t>
            </a:r>
            <a:r>
              <a:rPr sz="2200" spc="-100"/>
              <a:t>has </a:t>
            </a:r>
            <a:r>
              <a:rPr sz="2200" spc="-125"/>
              <a:t>provided </a:t>
            </a:r>
            <a:r>
              <a:rPr sz="2200" spc="-114"/>
              <a:t>tangible </a:t>
            </a:r>
            <a:r>
              <a:rPr sz="2200" spc="-135"/>
              <a:t>results,  </a:t>
            </a:r>
            <a:r>
              <a:rPr sz="2200" spc="-120"/>
              <a:t>companies</a:t>
            </a:r>
            <a:r>
              <a:rPr sz="2200" spc="-165"/>
              <a:t> </a:t>
            </a:r>
            <a:r>
              <a:rPr sz="2200" spc="-120"/>
              <a:t>often</a:t>
            </a:r>
            <a:r>
              <a:rPr sz="2200" spc="-165"/>
              <a:t> </a:t>
            </a:r>
            <a:r>
              <a:rPr sz="2200" spc="-160"/>
              <a:t>experience</a:t>
            </a:r>
            <a:r>
              <a:rPr sz="2200" spc="-155"/>
              <a:t> </a:t>
            </a:r>
            <a:r>
              <a:rPr sz="2200" spc="-90"/>
              <a:t>a</a:t>
            </a:r>
            <a:r>
              <a:rPr sz="2200" spc="-155"/>
              <a:t> </a:t>
            </a:r>
            <a:r>
              <a:rPr sz="2200" spc="-85"/>
              <a:t>slow</a:t>
            </a:r>
            <a:r>
              <a:rPr sz="2200" spc="-160"/>
              <a:t> </a:t>
            </a:r>
            <a:r>
              <a:rPr sz="2200" spc="-95"/>
              <a:t>down</a:t>
            </a:r>
            <a:r>
              <a:rPr sz="2200" spc="-165"/>
              <a:t> </a:t>
            </a:r>
            <a:r>
              <a:rPr sz="2200" spc="-120"/>
              <a:t>in</a:t>
            </a:r>
            <a:r>
              <a:rPr sz="2200" spc="-165"/>
              <a:t> </a:t>
            </a:r>
            <a:r>
              <a:rPr sz="2200" spc="-120"/>
              <a:t>speed</a:t>
            </a:r>
            <a:r>
              <a:rPr sz="2200" spc="-165"/>
              <a:t> </a:t>
            </a:r>
            <a:r>
              <a:rPr sz="2200" spc="-105"/>
              <a:t>and</a:t>
            </a:r>
            <a:r>
              <a:rPr sz="2200" spc="-165"/>
              <a:t> </a:t>
            </a:r>
            <a:r>
              <a:rPr sz="2200" spc="-105"/>
              <a:t>an</a:t>
            </a:r>
            <a:r>
              <a:rPr sz="2200" spc="-165"/>
              <a:t> </a:t>
            </a:r>
            <a:r>
              <a:rPr sz="2200" spc="-120"/>
              <a:t>inability</a:t>
            </a:r>
            <a:r>
              <a:rPr sz="2200" spc="-165"/>
              <a:t> </a:t>
            </a:r>
            <a:r>
              <a:rPr sz="2200" spc="-100"/>
              <a:t>to</a:t>
            </a:r>
            <a:r>
              <a:rPr sz="2200" spc="-155"/>
              <a:t> </a:t>
            </a:r>
            <a:r>
              <a:rPr sz="2200" spc="-130"/>
              <a:t>scale</a:t>
            </a:r>
            <a:r>
              <a:rPr sz="2200" spc="-155"/>
              <a:t> </a:t>
            </a:r>
            <a:r>
              <a:rPr sz="2200" spc="-120"/>
              <a:t>initiatives</a:t>
            </a:r>
            <a:endParaRPr sz="2200"/>
          </a:p>
        </p:txBody>
      </p:sp>
      <p:sp>
        <p:nvSpPr>
          <p:cNvPr id="3" name="object 3"/>
          <p:cNvSpPr txBox="1"/>
          <p:nvPr/>
        </p:nvSpPr>
        <p:spPr>
          <a:xfrm>
            <a:off x="702624" y="2506980"/>
            <a:ext cx="2311400" cy="15220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200"/>
              </a:lnSpc>
              <a:spcBef>
                <a:spcPts val="95"/>
              </a:spcBef>
            </a:pPr>
            <a:r>
              <a:rPr sz="1400" spc="-55">
                <a:latin typeface="Trebuchet MS"/>
                <a:cs typeface="Trebuchet MS"/>
              </a:rPr>
              <a:t>Employing </a:t>
            </a:r>
            <a:r>
              <a:rPr sz="1400" spc="-65">
                <a:latin typeface="Trebuchet MS"/>
                <a:cs typeface="Trebuchet MS"/>
              </a:rPr>
              <a:t>a </a:t>
            </a:r>
            <a:r>
              <a:rPr sz="1400" b="1" spc="-80">
                <a:solidFill>
                  <a:srgbClr val="6C03A8"/>
                </a:solidFill>
                <a:latin typeface="Trebuchet MS"/>
                <a:cs typeface="Trebuchet MS"/>
              </a:rPr>
              <a:t>technology </a:t>
            </a:r>
            <a:r>
              <a:rPr sz="1400" b="1" spc="-85">
                <a:solidFill>
                  <a:srgbClr val="6C03A8"/>
                </a:solidFill>
                <a:latin typeface="Trebuchet MS"/>
                <a:cs typeface="Trebuchet MS"/>
              </a:rPr>
              <a:t>driven  </a:t>
            </a:r>
            <a:r>
              <a:rPr sz="1400" b="1" spc="-90">
                <a:solidFill>
                  <a:srgbClr val="6C03A8"/>
                </a:solidFill>
                <a:latin typeface="Trebuchet MS"/>
                <a:cs typeface="Trebuchet MS"/>
              </a:rPr>
              <a:t>approach</a:t>
            </a:r>
            <a:r>
              <a:rPr sz="1400" spc="-90">
                <a:latin typeface="Trebuchet MS"/>
                <a:cs typeface="Trebuchet MS"/>
              </a:rPr>
              <a:t>, </a:t>
            </a:r>
            <a:r>
              <a:rPr sz="1400" spc="-55">
                <a:latin typeface="Trebuchet MS"/>
                <a:cs typeface="Trebuchet MS"/>
              </a:rPr>
              <a:t>procuring </a:t>
            </a:r>
            <a:r>
              <a:rPr sz="1400" spc="-75">
                <a:latin typeface="Trebuchet MS"/>
                <a:cs typeface="Trebuchet MS"/>
              </a:rPr>
              <a:t>data </a:t>
            </a:r>
            <a:r>
              <a:rPr sz="1400" spc="-50">
                <a:latin typeface="Trebuchet MS"/>
                <a:cs typeface="Trebuchet MS"/>
              </a:rPr>
              <a:t>tools  and </a:t>
            </a:r>
            <a:r>
              <a:rPr sz="1400" spc="-65">
                <a:latin typeface="Trebuchet MS"/>
                <a:cs typeface="Trebuchet MS"/>
              </a:rPr>
              <a:t>technologies, </a:t>
            </a:r>
            <a:r>
              <a:rPr sz="1400" spc="-60">
                <a:latin typeface="Trebuchet MS"/>
                <a:cs typeface="Trebuchet MS"/>
              </a:rPr>
              <a:t>gathering</a:t>
            </a:r>
            <a:r>
              <a:rPr sz="1400" spc="-270">
                <a:latin typeface="Trebuchet MS"/>
                <a:cs typeface="Trebuchet MS"/>
              </a:rPr>
              <a:t> </a:t>
            </a:r>
            <a:r>
              <a:rPr sz="1400" spc="-110">
                <a:latin typeface="Trebuchet MS"/>
                <a:cs typeface="Trebuchet MS"/>
              </a:rPr>
              <a:t>“all  </a:t>
            </a:r>
            <a:r>
              <a:rPr sz="1400" spc="-90">
                <a:latin typeface="Trebuchet MS"/>
                <a:cs typeface="Trebuchet MS"/>
              </a:rPr>
              <a:t>data” </a:t>
            </a:r>
            <a:r>
              <a:rPr sz="1400" spc="-50">
                <a:latin typeface="Trebuchet MS"/>
                <a:cs typeface="Trebuchet MS"/>
              </a:rPr>
              <a:t>and </a:t>
            </a:r>
            <a:r>
              <a:rPr sz="1400" spc="-65">
                <a:latin typeface="Trebuchet MS"/>
                <a:cs typeface="Trebuchet MS"/>
              </a:rPr>
              <a:t>selecting </a:t>
            </a:r>
            <a:r>
              <a:rPr sz="1400" spc="-75">
                <a:latin typeface="Trebuchet MS"/>
                <a:cs typeface="Trebuchet MS"/>
              </a:rPr>
              <a:t>specific  </a:t>
            </a:r>
            <a:r>
              <a:rPr sz="1400" spc="-65">
                <a:latin typeface="Trebuchet MS"/>
                <a:cs typeface="Trebuchet MS"/>
              </a:rPr>
              <a:t>machine </a:t>
            </a:r>
            <a:r>
              <a:rPr sz="1400" spc="-60">
                <a:latin typeface="Trebuchet MS"/>
                <a:cs typeface="Trebuchet MS"/>
              </a:rPr>
              <a:t>learning algorithms  </a:t>
            </a:r>
            <a:r>
              <a:rPr sz="1400" spc="-55">
                <a:latin typeface="Trebuchet MS"/>
                <a:cs typeface="Trebuchet MS"/>
              </a:rPr>
              <a:t>without </a:t>
            </a:r>
            <a:r>
              <a:rPr sz="1400" spc="-75">
                <a:latin typeface="Trebuchet MS"/>
                <a:cs typeface="Trebuchet MS"/>
              </a:rPr>
              <a:t>first </a:t>
            </a:r>
            <a:r>
              <a:rPr sz="1400" spc="-65">
                <a:latin typeface="Trebuchet MS"/>
                <a:cs typeface="Trebuchet MS"/>
              </a:rPr>
              <a:t>evaluating </a:t>
            </a:r>
            <a:r>
              <a:rPr sz="1400" spc="-60">
                <a:latin typeface="Trebuchet MS"/>
                <a:cs typeface="Trebuchet MS"/>
              </a:rPr>
              <a:t>the  </a:t>
            </a:r>
            <a:r>
              <a:rPr sz="1400" spc="-40">
                <a:latin typeface="Trebuchet MS"/>
                <a:cs typeface="Trebuchet MS"/>
              </a:rPr>
              <a:t>business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needs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02624" y="4223004"/>
            <a:ext cx="2426335" cy="87312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>
              <a:lnSpc>
                <a:spcPct val="99000"/>
              </a:lnSpc>
              <a:spcBef>
                <a:spcPts val="114"/>
              </a:spcBef>
            </a:pPr>
            <a:r>
              <a:rPr sz="1400" b="1" spc="-95">
                <a:solidFill>
                  <a:srgbClr val="B437FB"/>
                </a:solidFill>
                <a:latin typeface="Trebuchet MS"/>
                <a:cs typeface="Trebuchet MS"/>
              </a:rPr>
              <a:t>Leads </a:t>
            </a:r>
            <a:r>
              <a:rPr sz="1400" b="1" spc="-65">
                <a:solidFill>
                  <a:srgbClr val="B437FB"/>
                </a:solidFill>
                <a:latin typeface="Trebuchet MS"/>
                <a:cs typeface="Trebuchet MS"/>
              </a:rPr>
              <a:t>to </a:t>
            </a:r>
            <a:r>
              <a:rPr sz="1400" spc="-75">
                <a:latin typeface="Trebuchet MS"/>
                <a:cs typeface="Trebuchet MS"/>
              </a:rPr>
              <a:t>expensive, </a:t>
            </a:r>
            <a:r>
              <a:rPr sz="1400" spc="-65">
                <a:latin typeface="Trebuchet MS"/>
                <a:cs typeface="Trebuchet MS"/>
              </a:rPr>
              <a:t>technology-  </a:t>
            </a:r>
            <a:r>
              <a:rPr sz="1400" spc="-60">
                <a:latin typeface="Trebuchet MS"/>
                <a:cs typeface="Trebuchet MS"/>
              </a:rPr>
              <a:t>driven </a:t>
            </a:r>
            <a:r>
              <a:rPr sz="1400" spc="-75">
                <a:latin typeface="Trebuchet MS"/>
                <a:cs typeface="Trebuchet MS"/>
              </a:rPr>
              <a:t>projects </a:t>
            </a:r>
            <a:r>
              <a:rPr sz="1400" spc="-70">
                <a:latin typeface="Trebuchet MS"/>
                <a:cs typeface="Trebuchet MS"/>
              </a:rPr>
              <a:t>that </a:t>
            </a:r>
            <a:r>
              <a:rPr sz="1400" spc="-85">
                <a:latin typeface="Trebuchet MS"/>
                <a:cs typeface="Trebuchet MS"/>
              </a:rPr>
              <a:t>lack</a:t>
            </a:r>
            <a:r>
              <a:rPr lang="nb-NO" sz="1400" spc="-85">
                <a:latin typeface="Trebuchet MS"/>
                <a:cs typeface="Trebuchet MS"/>
              </a:rPr>
              <a:t> </a:t>
            </a:r>
            <a:r>
              <a:rPr sz="1400" spc="-280">
                <a:latin typeface="Trebuchet MS"/>
                <a:cs typeface="Trebuchet MS"/>
              </a:rPr>
              <a:t> </a:t>
            </a:r>
            <a:r>
              <a:rPr sz="1400" spc="-40">
                <a:latin typeface="Trebuchet MS"/>
                <a:cs typeface="Trebuchet MS"/>
              </a:rPr>
              <a:t>business </a:t>
            </a:r>
            <a:r>
              <a:rPr sz="1400" spc="-45">
                <a:latin typeface="Trebuchet MS"/>
                <a:cs typeface="Trebuchet MS"/>
              </a:rPr>
              <a:t>buy </a:t>
            </a:r>
            <a:r>
              <a:rPr sz="1400" spc="-95">
                <a:latin typeface="Trebuchet MS"/>
                <a:cs typeface="Trebuchet MS"/>
              </a:rPr>
              <a:t>in, </a:t>
            </a:r>
            <a:r>
              <a:rPr sz="1400" spc="-50">
                <a:latin typeface="Trebuchet MS"/>
                <a:cs typeface="Trebuchet MS"/>
              </a:rPr>
              <a:t>and </a:t>
            </a:r>
            <a:r>
              <a:rPr sz="1400" spc="-65">
                <a:latin typeface="Trebuchet MS"/>
                <a:cs typeface="Trebuchet MS"/>
              </a:rPr>
              <a:t>a </a:t>
            </a:r>
            <a:r>
              <a:rPr sz="1400" spc="-85">
                <a:latin typeface="Trebuchet MS"/>
                <a:cs typeface="Trebuchet MS"/>
              </a:rPr>
              <a:t>lack </a:t>
            </a:r>
            <a:r>
              <a:rPr sz="1400" spc="-55">
                <a:latin typeface="Trebuchet MS"/>
                <a:cs typeface="Trebuchet MS"/>
              </a:rPr>
              <a:t>of </a:t>
            </a:r>
            <a:r>
              <a:rPr sz="1400" spc="-70">
                <a:latin typeface="Trebuchet MS"/>
                <a:cs typeface="Trebuchet MS"/>
              </a:rPr>
              <a:t>value </a:t>
            </a:r>
            <a:r>
              <a:rPr sz="1400" spc="-80">
                <a:latin typeface="Trebuchet MS"/>
                <a:cs typeface="Trebuchet MS"/>
              </a:rPr>
              <a:t>creation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19411" y="2506980"/>
            <a:ext cx="2425700" cy="15220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200"/>
              </a:lnSpc>
              <a:spcBef>
                <a:spcPts val="95"/>
              </a:spcBef>
            </a:pPr>
            <a:r>
              <a:rPr sz="1400" b="1" spc="-40">
                <a:solidFill>
                  <a:srgbClr val="6C03A8"/>
                </a:solidFill>
                <a:latin typeface="Trebuchet MS"/>
                <a:cs typeface="Trebuchet MS"/>
              </a:rPr>
              <a:t>A </a:t>
            </a:r>
            <a:r>
              <a:rPr sz="1400" b="1" spc="-75">
                <a:solidFill>
                  <a:srgbClr val="6C03A8"/>
                </a:solidFill>
                <a:latin typeface="Trebuchet MS"/>
                <a:cs typeface="Trebuchet MS"/>
              </a:rPr>
              <a:t>bottom-up </a:t>
            </a:r>
            <a:r>
              <a:rPr sz="1400" b="1" spc="-80">
                <a:solidFill>
                  <a:srgbClr val="6C03A8"/>
                </a:solidFill>
                <a:latin typeface="Trebuchet MS"/>
                <a:cs typeface="Trebuchet MS"/>
              </a:rPr>
              <a:t>approach </a:t>
            </a:r>
            <a:r>
              <a:rPr sz="1400" spc="-60">
                <a:latin typeface="Trebuchet MS"/>
                <a:cs typeface="Trebuchet MS"/>
              </a:rPr>
              <a:t>where  </a:t>
            </a:r>
            <a:r>
              <a:rPr sz="1400" spc="-55">
                <a:latin typeface="Trebuchet MS"/>
                <a:cs typeface="Trebuchet MS"/>
              </a:rPr>
              <a:t>passionate </a:t>
            </a:r>
            <a:r>
              <a:rPr sz="1400" spc="-45">
                <a:latin typeface="Trebuchet MS"/>
                <a:cs typeface="Trebuchet MS"/>
              </a:rPr>
              <a:t>sub-groups </a:t>
            </a:r>
            <a:r>
              <a:rPr sz="1400" spc="-55">
                <a:latin typeface="Trebuchet MS"/>
                <a:cs typeface="Trebuchet MS"/>
              </a:rPr>
              <a:t>in </a:t>
            </a:r>
            <a:r>
              <a:rPr sz="1400" spc="-60">
                <a:latin typeface="Trebuchet MS"/>
                <a:cs typeface="Trebuchet MS"/>
              </a:rPr>
              <a:t>the  </a:t>
            </a:r>
            <a:r>
              <a:rPr sz="1400" spc="-65">
                <a:latin typeface="Trebuchet MS"/>
                <a:cs typeface="Trebuchet MS"/>
              </a:rPr>
              <a:t>organization </a:t>
            </a:r>
            <a:r>
              <a:rPr sz="1400" spc="-70">
                <a:latin typeface="Trebuchet MS"/>
                <a:cs typeface="Trebuchet MS"/>
              </a:rPr>
              <a:t>identify </a:t>
            </a:r>
            <a:r>
              <a:rPr sz="1400" spc="-50">
                <a:latin typeface="Trebuchet MS"/>
                <a:cs typeface="Trebuchet MS"/>
              </a:rPr>
              <a:t>promising  </a:t>
            </a:r>
            <a:r>
              <a:rPr sz="1400" spc="-55">
                <a:latin typeface="Trebuchet MS"/>
                <a:cs typeface="Trebuchet MS"/>
              </a:rPr>
              <a:t>prototypes </a:t>
            </a:r>
            <a:r>
              <a:rPr sz="1400" spc="-60">
                <a:latin typeface="Trebuchet MS"/>
                <a:cs typeface="Trebuchet MS"/>
              </a:rPr>
              <a:t>which </a:t>
            </a:r>
            <a:r>
              <a:rPr sz="1400" spc="-75">
                <a:latin typeface="Trebuchet MS"/>
                <a:cs typeface="Trebuchet MS"/>
              </a:rPr>
              <a:t>can </a:t>
            </a:r>
            <a:r>
              <a:rPr sz="1400" spc="-55">
                <a:latin typeface="Trebuchet MS"/>
                <a:cs typeface="Trebuchet MS"/>
              </a:rPr>
              <a:t>then </a:t>
            </a:r>
            <a:r>
              <a:rPr sz="1400" spc="-60">
                <a:latin typeface="Trebuchet MS"/>
                <a:cs typeface="Trebuchet MS"/>
              </a:rPr>
              <a:t>be  </a:t>
            </a:r>
            <a:r>
              <a:rPr sz="1400" spc="-70">
                <a:latin typeface="Trebuchet MS"/>
                <a:cs typeface="Trebuchet MS"/>
              </a:rPr>
              <a:t>rolled </a:t>
            </a:r>
            <a:r>
              <a:rPr sz="1400" spc="-45">
                <a:latin typeface="Trebuchet MS"/>
                <a:cs typeface="Trebuchet MS"/>
              </a:rPr>
              <a:t>out </a:t>
            </a:r>
            <a:r>
              <a:rPr sz="1400" spc="-55">
                <a:latin typeface="Trebuchet MS"/>
                <a:cs typeface="Trebuchet MS"/>
              </a:rPr>
              <a:t>in </a:t>
            </a:r>
            <a:r>
              <a:rPr sz="1400" spc="-60">
                <a:latin typeface="Trebuchet MS"/>
                <a:cs typeface="Trebuchet MS"/>
              </a:rPr>
              <a:t>the </a:t>
            </a:r>
            <a:r>
              <a:rPr sz="1400" spc="-55">
                <a:latin typeface="Trebuchet MS"/>
                <a:cs typeface="Trebuchet MS"/>
              </a:rPr>
              <a:t>business, </a:t>
            </a:r>
            <a:r>
              <a:rPr sz="1400" spc="-60">
                <a:latin typeface="Trebuchet MS"/>
                <a:cs typeface="Trebuchet MS"/>
              </a:rPr>
              <a:t>with </a:t>
            </a:r>
            <a:r>
              <a:rPr sz="1400" spc="-65">
                <a:latin typeface="Trebuchet MS"/>
                <a:cs typeface="Trebuchet MS"/>
              </a:rPr>
              <a:t>a  </a:t>
            </a:r>
            <a:r>
              <a:rPr sz="1400" spc="-85">
                <a:latin typeface="Trebuchet MS"/>
                <a:cs typeface="Trebuchet MS"/>
              </a:rPr>
              <a:t>lack </a:t>
            </a:r>
            <a:r>
              <a:rPr sz="1400" spc="-55">
                <a:latin typeface="Trebuchet MS"/>
                <a:cs typeface="Trebuchet MS"/>
              </a:rPr>
              <a:t>of </a:t>
            </a:r>
            <a:r>
              <a:rPr sz="1400" b="1" spc="-85">
                <a:latin typeface="Trebuchet MS"/>
                <a:cs typeface="Trebuchet MS"/>
              </a:rPr>
              <a:t>prioritization </a:t>
            </a:r>
            <a:r>
              <a:rPr sz="1400" spc="-55">
                <a:latin typeface="Trebuchet MS"/>
                <a:cs typeface="Trebuchet MS"/>
              </a:rPr>
              <a:t>by </a:t>
            </a:r>
            <a:r>
              <a:rPr sz="1400" b="1" spc="-70">
                <a:latin typeface="Trebuchet MS"/>
                <a:cs typeface="Trebuchet MS"/>
              </a:rPr>
              <a:t>business  </a:t>
            </a:r>
            <a:r>
              <a:rPr sz="1400" b="1" spc="-85">
                <a:latin typeface="Trebuchet MS"/>
                <a:cs typeface="Trebuchet MS"/>
              </a:rPr>
              <a:t>needs </a:t>
            </a:r>
            <a:r>
              <a:rPr sz="1400" spc="-40">
                <a:latin typeface="Trebuchet MS"/>
                <a:cs typeface="Trebuchet MS"/>
              </a:rPr>
              <a:t>or </a:t>
            </a:r>
            <a:r>
              <a:rPr sz="1400" spc="-70">
                <a:latin typeface="Trebuchet MS"/>
                <a:cs typeface="Trebuchet MS"/>
              </a:rPr>
              <a:t>value</a:t>
            </a:r>
            <a:r>
              <a:rPr sz="1400" spc="-22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potential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19411" y="4223004"/>
            <a:ext cx="2362200" cy="6565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>
              <a:lnSpc>
                <a:spcPct val="97900"/>
              </a:lnSpc>
              <a:spcBef>
                <a:spcPts val="135"/>
              </a:spcBef>
            </a:pPr>
            <a:r>
              <a:rPr sz="1400" b="1" spc="-95">
                <a:solidFill>
                  <a:srgbClr val="B437FB"/>
                </a:solidFill>
                <a:latin typeface="Trebuchet MS"/>
                <a:cs typeface="Trebuchet MS"/>
              </a:rPr>
              <a:t>Leads </a:t>
            </a:r>
            <a:r>
              <a:rPr sz="1400" b="1" spc="-65">
                <a:solidFill>
                  <a:srgbClr val="B437FB"/>
                </a:solidFill>
                <a:latin typeface="Trebuchet MS"/>
                <a:cs typeface="Trebuchet MS"/>
              </a:rPr>
              <a:t>to </a:t>
            </a:r>
            <a:r>
              <a:rPr sz="1400" spc="-60">
                <a:latin typeface="Trebuchet MS"/>
                <a:cs typeface="Trebuchet MS"/>
              </a:rPr>
              <a:t>many </a:t>
            </a:r>
            <a:r>
              <a:rPr sz="1400" spc="-65">
                <a:latin typeface="Trebuchet MS"/>
                <a:cs typeface="Trebuchet MS"/>
              </a:rPr>
              <a:t>POC</a:t>
            </a:r>
            <a:r>
              <a:rPr lang="nb-NO" sz="1400" spc="-65">
                <a:latin typeface="Trebuchet MS"/>
                <a:cs typeface="Trebuchet MS"/>
              </a:rPr>
              <a:t>s</a:t>
            </a:r>
            <a:r>
              <a:rPr sz="1400" spc="-65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that are  </a:t>
            </a:r>
            <a:r>
              <a:rPr sz="1400" spc="-45">
                <a:latin typeface="Trebuchet MS"/>
                <a:cs typeface="Trebuchet MS"/>
              </a:rPr>
              <a:t>not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fully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launched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40">
                <a:latin typeface="Trebuchet MS"/>
                <a:cs typeface="Trebuchet MS"/>
              </a:rPr>
              <a:t>or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adopted  by </a:t>
            </a:r>
            <a:r>
              <a:rPr sz="1400" spc="-60">
                <a:latin typeface="Trebuchet MS"/>
                <a:cs typeface="Trebuchet MS"/>
              </a:rPr>
              <a:t>the</a:t>
            </a:r>
            <a:r>
              <a:rPr sz="1400" spc="-17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business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23883" y="1509204"/>
            <a:ext cx="2697394" cy="81554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60446" y="1784604"/>
            <a:ext cx="262509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75">
                <a:solidFill>
                  <a:srgbClr val="FFFFFF"/>
                </a:solidFill>
                <a:latin typeface="Trebuchet MS"/>
                <a:cs typeface="Trebuchet MS"/>
              </a:rPr>
              <a:t>The </a:t>
            </a:r>
            <a:r>
              <a:rPr sz="1400" b="1" spc="-80">
                <a:solidFill>
                  <a:srgbClr val="FFFFFF"/>
                </a:solidFill>
                <a:latin typeface="Trebuchet MS"/>
                <a:cs typeface="Trebuchet MS"/>
              </a:rPr>
              <a:t>technology </a:t>
            </a:r>
            <a:r>
              <a:rPr sz="1400" b="1" spc="-85">
                <a:solidFill>
                  <a:srgbClr val="FFFFFF"/>
                </a:solidFill>
                <a:latin typeface="Trebuchet MS"/>
                <a:cs typeface="Trebuchet MS"/>
              </a:rPr>
              <a:t>mirage </a:t>
            </a:r>
            <a:r>
              <a:rPr sz="1400" spc="-50">
                <a:solidFill>
                  <a:srgbClr val="FFFFFF"/>
                </a:solidFill>
                <a:latin typeface="Trebuchet MS"/>
                <a:cs typeface="Trebuchet MS"/>
              </a:rPr>
              <a:t>is </a:t>
            </a:r>
            <a:r>
              <a:rPr sz="1400" spc="-60">
                <a:solidFill>
                  <a:srgbClr val="FFFFFF"/>
                </a:solidFill>
                <a:latin typeface="Trebuchet MS"/>
                <a:cs typeface="Trebuchet MS"/>
              </a:rPr>
              <a:t>avoided</a:t>
            </a:r>
            <a:r>
              <a:rPr sz="1400" spc="-29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65">
                <a:solidFill>
                  <a:srgbClr val="FFFFFF"/>
                </a:solidFill>
                <a:latin typeface="Trebuchet MS"/>
                <a:cs typeface="Trebuchet MS"/>
              </a:rPr>
              <a:t>…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540671" y="1509204"/>
            <a:ext cx="2697390" cy="8155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767137" y="1784604"/>
            <a:ext cx="224472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65">
                <a:solidFill>
                  <a:srgbClr val="FFFFFF"/>
                </a:solidFill>
                <a:latin typeface="Trebuchet MS"/>
                <a:cs typeface="Trebuchet MS"/>
              </a:rPr>
              <a:t>... </a:t>
            </a:r>
            <a:r>
              <a:rPr sz="1400" spc="-50">
                <a:solidFill>
                  <a:srgbClr val="FFFFFF"/>
                </a:solidFill>
                <a:latin typeface="Trebuchet MS"/>
                <a:cs typeface="Trebuchet MS"/>
              </a:rPr>
              <a:t>and </a:t>
            </a:r>
            <a:r>
              <a:rPr sz="1400" spc="-60">
                <a:solidFill>
                  <a:srgbClr val="FFFFFF"/>
                </a:solidFill>
                <a:latin typeface="Trebuchet MS"/>
                <a:cs typeface="Trebuchet MS"/>
              </a:rPr>
              <a:t>the POC </a:t>
            </a:r>
            <a:r>
              <a:rPr sz="1400" spc="-70">
                <a:solidFill>
                  <a:srgbClr val="FFFFFF"/>
                </a:solidFill>
                <a:latin typeface="Trebuchet MS"/>
                <a:cs typeface="Trebuchet MS"/>
              </a:rPr>
              <a:t>trap </a:t>
            </a:r>
            <a:r>
              <a:rPr sz="1400" spc="-50">
                <a:solidFill>
                  <a:srgbClr val="FFFFFF"/>
                </a:solidFill>
                <a:latin typeface="Trebuchet MS"/>
                <a:cs typeface="Trebuchet MS"/>
              </a:rPr>
              <a:t>is</a:t>
            </a:r>
            <a:r>
              <a:rPr sz="1400" spc="-29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75">
                <a:solidFill>
                  <a:srgbClr val="FFFFFF"/>
                </a:solidFill>
                <a:latin typeface="Trebuchet MS"/>
                <a:cs typeface="Trebuchet MS"/>
              </a:rPr>
              <a:t>avoided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351727" y="1509195"/>
            <a:ext cx="0" cy="4479925"/>
          </a:xfrm>
          <a:custGeom>
            <a:avLst/>
            <a:gdLst/>
            <a:ahLst/>
            <a:cxnLst/>
            <a:rect l="l" t="t" r="r" b="b"/>
            <a:pathLst>
              <a:path h="4479925">
                <a:moveTo>
                  <a:pt x="0" y="4479712"/>
                </a:moveTo>
                <a:lnTo>
                  <a:pt x="1" y="0"/>
                </a:lnTo>
              </a:path>
            </a:pathLst>
          </a:custGeom>
          <a:ln w="6350">
            <a:solidFill>
              <a:srgbClr val="B7B1A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702627" y="5359908"/>
            <a:ext cx="5420360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b="1" spc="-80">
                <a:solidFill>
                  <a:srgbClr val="B437FB"/>
                </a:solidFill>
                <a:latin typeface="Trebuchet MS"/>
                <a:cs typeface="Trebuchet MS"/>
              </a:rPr>
              <a:t>Instead, </a:t>
            </a:r>
            <a:r>
              <a:rPr sz="1400" spc="-65">
                <a:latin typeface="Trebuchet MS"/>
                <a:cs typeface="Trebuchet MS"/>
              </a:rPr>
              <a:t>a </a:t>
            </a:r>
            <a:r>
              <a:rPr sz="1400" spc="-75">
                <a:latin typeface="Trebuchet MS"/>
                <a:cs typeface="Trebuchet MS"/>
              </a:rPr>
              <a:t>data </a:t>
            </a:r>
            <a:r>
              <a:rPr sz="1400" spc="-70">
                <a:latin typeface="Trebuchet MS"/>
                <a:cs typeface="Trebuchet MS"/>
              </a:rPr>
              <a:t>strategy that identifies </a:t>
            </a:r>
            <a:r>
              <a:rPr sz="1400" spc="-60">
                <a:latin typeface="Trebuchet MS"/>
                <a:cs typeface="Trebuchet MS"/>
              </a:rPr>
              <a:t>the </a:t>
            </a:r>
            <a:r>
              <a:rPr sz="1400" spc="-40">
                <a:latin typeface="Trebuchet MS"/>
                <a:cs typeface="Trebuchet MS"/>
              </a:rPr>
              <a:t>use </a:t>
            </a:r>
            <a:r>
              <a:rPr sz="1400" spc="-60">
                <a:latin typeface="Trebuchet MS"/>
                <a:cs typeface="Trebuchet MS"/>
              </a:rPr>
              <a:t>cases with the </a:t>
            </a:r>
            <a:r>
              <a:rPr sz="1400" spc="-55">
                <a:latin typeface="Trebuchet MS"/>
                <a:cs typeface="Trebuchet MS"/>
              </a:rPr>
              <a:t>highest  </a:t>
            </a:r>
            <a:r>
              <a:rPr sz="1400" spc="-65">
                <a:latin typeface="Trebuchet MS"/>
                <a:cs typeface="Trebuchet MS"/>
              </a:rPr>
              <a:t>potential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is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40">
                <a:latin typeface="Trebuchet MS"/>
                <a:cs typeface="Trebuchet MS"/>
              </a:rPr>
              <a:t>used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adapt</a:t>
            </a:r>
            <a:r>
              <a:rPr sz="1400" spc="-100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and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select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h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echnology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th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40">
                <a:latin typeface="Trebuchet MS"/>
                <a:cs typeface="Trebuchet MS"/>
              </a:rPr>
              <a:t>business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needs.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457467" y="1509204"/>
            <a:ext cx="5111115" cy="81597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178435" rIns="0" bIns="0" rtlCol="0">
            <a:spAutoFit/>
          </a:bodyPr>
          <a:lstStyle/>
          <a:p>
            <a:pPr marL="1045210" marR="140970" indent="-895350">
              <a:lnSpc>
                <a:spcPct val="101400"/>
              </a:lnSpc>
              <a:spcBef>
                <a:spcPts val="1405"/>
              </a:spcBef>
            </a:pPr>
            <a:r>
              <a:rPr sz="1400" spc="-50">
                <a:latin typeface="Trebuchet MS"/>
                <a:cs typeface="Trebuchet MS"/>
              </a:rPr>
              <a:t>But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ar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45">
                <a:latin typeface="Trebuchet MS"/>
                <a:cs typeface="Trebuchet MS"/>
              </a:rPr>
              <a:t>not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able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scal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du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b="1" spc="-55">
                <a:latin typeface="Trebuchet MS"/>
                <a:cs typeface="Trebuchet MS"/>
              </a:rPr>
              <a:t>a</a:t>
            </a:r>
            <a:r>
              <a:rPr sz="1400" b="1" spc="-114">
                <a:latin typeface="Trebuchet MS"/>
                <a:cs typeface="Trebuchet MS"/>
              </a:rPr>
              <a:t> </a:t>
            </a:r>
            <a:r>
              <a:rPr sz="1400" b="1" spc="-90">
                <a:latin typeface="Trebuchet MS"/>
                <a:cs typeface="Trebuchet MS"/>
              </a:rPr>
              <a:t>lack</a:t>
            </a:r>
            <a:r>
              <a:rPr sz="1400" b="1" spc="-110">
                <a:latin typeface="Trebuchet MS"/>
                <a:cs typeface="Trebuchet MS"/>
              </a:rPr>
              <a:t> </a:t>
            </a:r>
            <a:r>
              <a:rPr sz="1400" b="1" spc="-60">
                <a:latin typeface="Trebuchet MS"/>
                <a:cs typeface="Trebuchet MS"/>
              </a:rPr>
              <a:t>of</a:t>
            </a:r>
            <a:r>
              <a:rPr sz="1400" b="1" spc="-120">
                <a:latin typeface="Trebuchet MS"/>
                <a:cs typeface="Trebuchet MS"/>
              </a:rPr>
              <a:t> </a:t>
            </a:r>
            <a:r>
              <a:rPr sz="1400" b="1" spc="-80">
                <a:latin typeface="Trebuchet MS"/>
                <a:cs typeface="Trebuchet MS"/>
              </a:rPr>
              <a:t>processes</a:t>
            </a:r>
            <a:r>
              <a:rPr sz="1400" b="1" spc="-105">
                <a:latin typeface="Trebuchet MS"/>
                <a:cs typeface="Trebuchet MS"/>
              </a:rPr>
              <a:t> </a:t>
            </a:r>
            <a:r>
              <a:rPr sz="1400" b="1" spc="-70">
                <a:latin typeface="Trebuchet MS"/>
                <a:cs typeface="Trebuchet MS"/>
              </a:rPr>
              <a:t>and</a:t>
            </a:r>
            <a:r>
              <a:rPr sz="1400" b="1" spc="-114">
                <a:latin typeface="Trebuchet MS"/>
                <a:cs typeface="Trebuchet MS"/>
              </a:rPr>
              <a:t> </a:t>
            </a:r>
            <a:r>
              <a:rPr sz="1400" b="1" spc="-60">
                <a:latin typeface="Trebuchet MS"/>
                <a:cs typeface="Trebuchet MS"/>
              </a:rPr>
              <a:t>tools</a:t>
            </a:r>
            <a:r>
              <a:rPr sz="1400" b="1" spc="-105">
                <a:latin typeface="Trebuchet MS"/>
                <a:cs typeface="Trebuchet MS"/>
              </a:rPr>
              <a:t> </a:t>
            </a:r>
            <a:r>
              <a:rPr sz="1400" b="1" spc="-65">
                <a:latin typeface="Trebuchet MS"/>
                <a:cs typeface="Trebuchet MS"/>
              </a:rPr>
              <a:t>to</a:t>
            </a:r>
            <a:r>
              <a:rPr sz="1400" b="1" spc="-114">
                <a:latin typeface="Trebuchet MS"/>
                <a:cs typeface="Trebuchet MS"/>
              </a:rPr>
              <a:t> </a:t>
            </a:r>
            <a:r>
              <a:rPr sz="1400" b="1" spc="-85">
                <a:latin typeface="Trebuchet MS"/>
                <a:cs typeface="Trebuchet MS"/>
              </a:rPr>
              <a:t>be  </a:t>
            </a:r>
            <a:r>
              <a:rPr sz="1400" b="1" spc="-75">
                <a:latin typeface="Trebuchet MS"/>
                <a:cs typeface="Trebuchet MS"/>
              </a:rPr>
              <a:t>data</a:t>
            </a:r>
            <a:r>
              <a:rPr sz="1400" b="1" spc="-114">
                <a:latin typeface="Trebuchet MS"/>
                <a:cs typeface="Trebuchet MS"/>
              </a:rPr>
              <a:t> </a:t>
            </a:r>
            <a:r>
              <a:rPr sz="1400" b="1" spc="-90">
                <a:latin typeface="Trebuchet MS"/>
                <a:cs typeface="Trebuchet MS"/>
              </a:rPr>
              <a:t>driven</a:t>
            </a:r>
            <a:r>
              <a:rPr sz="1400" b="1" spc="-110">
                <a:latin typeface="Trebuchet MS"/>
                <a:cs typeface="Trebuchet MS"/>
              </a:rPr>
              <a:t> </a:t>
            </a:r>
            <a:r>
              <a:rPr sz="1400" b="1" spc="-75">
                <a:latin typeface="Trebuchet MS"/>
                <a:cs typeface="Trebuchet MS"/>
              </a:rPr>
              <a:t>at</a:t>
            </a:r>
            <a:r>
              <a:rPr sz="1400" b="1" spc="-110">
                <a:latin typeface="Trebuchet MS"/>
                <a:cs typeface="Trebuchet MS"/>
              </a:rPr>
              <a:t> </a:t>
            </a:r>
            <a:r>
              <a:rPr sz="1400" b="1" spc="-100">
                <a:latin typeface="Trebuchet MS"/>
                <a:cs typeface="Trebuchet MS"/>
              </a:rPr>
              <a:t>scale</a:t>
            </a:r>
            <a:r>
              <a:rPr sz="1400" spc="-100">
                <a:latin typeface="Trebuchet MS"/>
                <a:cs typeface="Trebuchet MS"/>
              </a:rPr>
              <a:t>.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This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could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be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due</a:t>
            </a:r>
            <a:r>
              <a:rPr sz="1400" spc="-105">
                <a:latin typeface="Trebuchet MS"/>
                <a:cs typeface="Trebuchet MS"/>
              </a:rPr>
              <a:t> </a:t>
            </a:r>
            <a:r>
              <a:rPr sz="1400" spc="-85">
                <a:latin typeface="Trebuchet MS"/>
                <a:cs typeface="Trebuchet MS"/>
              </a:rPr>
              <a:t>to: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945970" y="2506980"/>
            <a:ext cx="3345815" cy="6718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b="1" spc="-105">
                <a:latin typeface="Trebuchet MS"/>
                <a:cs typeface="Trebuchet MS"/>
              </a:rPr>
              <a:t>Lead </a:t>
            </a:r>
            <a:r>
              <a:rPr sz="1400" b="1" spc="-80">
                <a:latin typeface="Trebuchet MS"/>
                <a:cs typeface="Trebuchet MS"/>
              </a:rPr>
              <a:t>time </a:t>
            </a:r>
            <a:r>
              <a:rPr sz="1400" b="1" spc="-70">
                <a:latin typeface="Trebuchet MS"/>
                <a:cs typeface="Trebuchet MS"/>
              </a:rPr>
              <a:t>and </a:t>
            </a:r>
            <a:r>
              <a:rPr sz="1400" b="1" spc="-95">
                <a:latin typeface="Trebuchet MS"/>
                <a:cs typeface="Trebuchet MS"/>
              </a:rPr>
              <a:t>dependency </a:t>
            </a:r>
            <a:r>
              <a:rPr sz="1400" b="1" spc="-60">
                <a:latin typeface="Trebuchet MS"/>
                <a:cs typeface="Trebuchet MS"/>
              </a:rPr>
              <a:t>of </a:t>
            </a:r>
            <a:r>
              <a:rPr sz="1400" b="1" spc="-100">
                <a:latin typeface="Trebuchet MS"/>
                <a:cs typeface="Trebuchet MS"/>
              </a:rPr>
              <a:t>IT-resources  </a:t>
            </a:r>
            <a:r>
              <a:rPr sz="1400" spc="-50">
                <a:latin typeface="Trebuchet MS"/>
                <a:cs typeface="Trebuchet MS"/>
              </a:rPr>
              <a:t>outsid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of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cor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70">
                <a:latin typeface="Trebuchet MS"/>
                <a:cs typeface="Trebuchet MS"/>
              </a:rPr>
              <a:t>team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launch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new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models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to  production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945970" y="3387852"/>
            <a:ext cx="3425825" cy="66865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85"/>
              </a:spcBef>
            </a:pPr>
            <a:r>
              <a:rPr sz="1400" b="1" spc="-80">
                <a:latin typeface="Trebuchet MS"/>
                <a:cs typeface="Trebuchet MS"/>
              </a:rPr>
              <a:t>Changes </a:t>
            </a:r>
            <a:r>
              <a:rPr sz="1400" b="1" spc="-75">
                <a:latin typeface="Trebuchet MS"/>
                <a:cs typeface="Trebuchet MS"/>
              </a:rPr>
              <a:t>in input data </a:t>
            </a:r>
            <a:r>
              <a:rPr sz="1400" b="1" spc="-100">
                <a:latin typeface="Trebuchet MS"/>
                <a:cs typeface="Trebuchet MS"/>
              </a:rPr>
              <a:t>occur </a:t>
            </a:r>
            <a:r>
              <a:rPr sz="1400" b="1" spc="-105">
                <a:latin typeface="Trebuchet MS"/>
                <a:cs typeface="Trebuchet MS"/>
              </a:rPr>
              <a:t>unexpected</a:t>
            </a:r>
            <a:r>
              <a:rPr lang="nb-NO" sz="1400" b="1" spc="-105">
                <a:latin typeface="Trebuchet MS"/>
                <a:cs typeface="Trebuchet MS"/>
              </a:rPr>
              <a:t>ly</a:t>
            </a:r>
            <a:r>
              <a:rPr sz="1400" b="1" spc="-105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and</a:t>
            </a:r>
            <a:r>
              <a:rPr sz="1400" spc="-265">
                <a:latin typeface="Trebuchet MS"/>
                <a:cs typeface="Trebuchet MS"/>
              </a:rPr>
              <a:t> </a:t>
            </a:r>
            <a:r>
              <a:rPr lang="nb-NO" sz="1400" spc="-50" err="1">
                <a:latin typeface="Trebuchet MS"/>
                <a:cs typeface="Trebuchet MS"/>
              </a:rPr>
              <a:t>are</a:t>
            </a:r>
            <a:r>
              <a:rPr sz="1400" spc="-50">
                <a:latin typeface="Trebuchet MS"/>
                <a:cs typeface="Trebuchet MS"/>
              </a:rPr>
              <a:t> only </a:t>
            </a:r>
            <a:r>
              <a:rPr sz="1400" spc="-70">
                <a:latin typeface="Trebuchet MS"/>
                <a:cs typeface="Trebuchet MS"/>
              </a:rPr>
              <a:t>recognized </a:t>
            </a:r>
            <a:r>
              <a:rPr sz="1400" spc="-80">
                <a:latin typeface="Trebuchet MS"/>
                <a:cs typeface="Trebuchet MS"/>
              </a:rPr>
              <a:t>after </a:t>
            </a:r>
            <a:r>
              <a:rPr sz="1400" spc="-50">
                <a:latin typeface="Trebuchet MS"/>
                <a:cs typeface="Trebuchet MS"/>
              </a:rPr>
              <a:t>models </a:t>
            </a:r>
            <a:r>
              <a:rPr sz="1400" spc="-90">
                <a:latin typeface="Trebuchet MS"/>
                <a:cs typeface="Trebuchet MS"/>
              </a:rPr>
              <a:t>fail </a:t>
            </a:r>
            <a:r>
              <a:rPr sz="1400" spc="-40">
                <a:latin typeface="Trebuchet MS"/>
                <a:cs typeface="Trebuchet MS"/>
              </a:rPr>
              <a:t>or </a:t>
            </a:r>
            <a:r>
              <a:rPr sz="1400" spc="-60">
                <a:latin typeface="Trebuchet MS"/>
                <a:cs typeface="Trebuchet MS"/>
              </a:rPr>
              <a:t>produce  </a:t>
            </a:r>
            <a:r>
              <a:rPr sz="1400" spc="-70">
                <a:latin typeface="Trebuchet MS"/>
                <a:cs typeface="Trebuchet MS"/>
              </a:rPr>
              <a:t>unexpected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5">
                <a:latin typeface="Trebuchet MS"/>
                <a:cs typeface="Trebuchet MS"/>
              </a:rPr>
              <a:t>results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945958" y="4265676"/>
            <a:ext cx="3250565" cy="88519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</a:pPr>
            <a:r>
              <a:rPr sz="1400" b="1" spc="-65">
                <a:latin typeface="Trebuchet MS"/>
                <a:cs typeface="Trebuchet MS"/>
              </a:rPr>
              <a:t>Maintenance </a:t>
            </a:r>
            <a:r>
              <a:rPr sz="1400" b="1" spc="-60">
                <a:latin typeface="Trebuchet MS"/>
                <a:cs typeface="Trebuchet MS"/>
              </a:rPr>
              <a:t>of </a:t>
            </a:r>
            <a:r>
              <a:rPr sz="1400" b="1" spc="-85">
                <a:latin typeface="Trebuchet MS"/>
                <a:cs typeface="Trebuchet MS"/>
              </a:rPr>
              <a:t>existing </a:t>
            </a:r>
            <a:r>
              <a:rPr sz="1400" b="1" spc="-70">
                <a:latin typeface="Trebuchet MS"/>
                <a:cs typeface="Trebuchet MS"/>
              </a:rPr>
              <a:t>models </a:t>
            </a:r>
            <a:r>
              <a:rPr sz="1400" b="1" spc="-75">
                <a:latin typeface="Trebuchet MS"/>
                <a:cs typeface="Trebuchet MS"/>
              </a:rPr>
              <a:t>demand</a:t>
            </a:r>
            <a:r>
              <a:rPr sz="1400" b="1" spc="-295">
                <a:latin typeface="Trebuchet MS"/>
                <a:cs typeface="Trebuchet MS"/>
              </a:rPr>
              <a:t> </a:t>
            </a:r>
            <a:r>
              <a:rPr sz="1400" b="1" spc="-70">
                <a:latin typeface="Trebuchet MS"/>
                <a:cs typeface="Trebuchet MS"/>
              </a:rPr>
              <a:t>an  </a:t>
            </a:r>
            <a:r>
              <a:rPr sz="1400" b="1" spc="-80">
                <a:latin typeface="Trebuchet MS"/>
                <a:cs typeface="Trebuchet MS"/>
              </a:rPr>
              <a:t>increasing </a:t>
            </a:r>
            <a:r>
              <a:rPr sz="1400" b="1" spc="-85">
                <a:latin typeface="Trebuchet MS"/>
                <a:cs typeface="Trebuchet MS"/>
              </a:rPr>
              <a:t>share </a:t>
            </a:r>
            <a:r>
              <a:rPr sz="1400" b="1" spc="-60">
                <a:latin typeface="Trebuchet MS"/>
                <a:cs typeface="Trebuchet MS"/>
              </a:rPr>
              <a:t>of </a:t>
            </a:r>
            <a:r>
              <a:rPr sz="1400" b="1" spc="-85">
                <a:latin typeface="Trebuchet MS"/>
                <a:cs typeface="Trebuchet MS"/>
              </a:rPr>
              <a:t>the </a:t>
            </a:r>
            <a:r>
              <a:rPr sz="1400" b="1" spc="-75">
                <a:latin typeface="Trebuchet MS"/>
                <a:cs typeface="Trebuchet MS"/>
              </a:rPr>
              <a:t>data </a:t>
            </a:r>
            <a:r>
              <a:rPr sz="1400" b="1" spc="-80">
                <a:latin typeface="Trebuchet MS"/>
                <a:cs typeface="Trebuchet MS"/>
              </a:rPr>
              <a:t>scientist</a:t>
            </a:r>
            <a:r>
              <a:rPr lang="nb-NO" sz="1400" b="1" spc="-80">
                <a:latin typeface="Trebuchet MS"/>
                <a:cs typeface="Trebuchet MS"/>
              </a:rPr>
              <a:t>s</a:t>
            </a:r>
            <a:r>
              <a:rPr sz="1400" b="1" spc="-80">
                <a:latin typeface="Trebuchet MS"/>
                <a:cs typeface="Trebuchet MS"/>
              </a:rPr>
              <a:t> </a:t>
            </a:r>
            <a:r>
              <a:rPr sz="1400" b="1" spc="-95">
                <a:latin typeface="Trebuchet MS"/>
                <a:cs typeface="Trebuchet MS"/>
              </a:rPr>
              <a:t>time.  </a:t>
            </a:r>
            <a:r>
              <a:rPr sz="1400" i="1">
                <a:latin typeface="Carlito"/>
                <a:cs typeface="Carlito"/>
              </a:rPr>
              <a:t>Studies </a:t>
            </a:r>
            <a:r>
              <a:rPr sz="1400" i="1" spc="-5">
                <a:latin typeface="Carlito"/>
                <a:cs typeface="Carlito"/>
              </a:rPr>
              <a:t>show </a:t>
            </a:r>
            <a:r>
              <a:rPr sz="1400" i="1">
                <a:latin typeface="Carlito"/>
                <a:cs typeface="Carlito"/>
              </a:rPr>
              <a:t>that </a:t>
            </a:r>
            <a:r>
              <a:rPr sz="1400" i="1" spc="-5">
                <a:latin typeface="Carlito"/>
                <a:cs typeface="Carlito"/>
              </a:rPr>
              <a:t>25-50% of </a:t>
            </a:r>
            <a:r>
              <a:rPr sz="1400" i="1">
                <a:latin typeface="Carlito"/>
                <a:cs typeface="Carlito"/>
              </a:rPr>
              <a:t>time is </a:t>
            </a:r>
            <a:r>
              <a:rPr sz="1400" i="1" spc="-5">
                <a:latin typeface="Carlito"/>
                <a:cs typeface="Carlito"/>
              </a:rPr>
              <a:t>spent on  low </a:t>
            </a:r>
            <a:r>
              <a:rPr sz="1400" i="1">
                <a:latin typeface="Carlito"/>
                <a:cs typeface="Carlito"/>
              </a:rPr>
              <a:t>value creating</a:t>
            </a:r>
            <a:r>
              <a:rPr sz="1400" i="1" spc="-30">
                <a:latin typeface="Carlito"/>
                <a:cs typeface="Carlito"/>
              </a:rPr>
              <a:t> </a:t>
            </a:r>
            <a:r>
              <a:rPr sz="1400" i="1" spc="-5">
                <a:latin typeface="Carlito"/>
                <a:cs typeface="Carlito"/>
              </a:rPr>
              <a:t>tasks.</a:t>
            </a:r>
            <a:endParaRPr sz="1400">
              <a:latin typeface="Carlito"/>
              <a:cs typeface="Carlito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945958" y="5399532"/>
            <a:ext cx="2913380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b="1" spc="-75">
                <a:latin typeface="Trebuchet MS"/>
                <a:cs typeface="Trebuchet MS"/>
              </a:rPr>
              <a:t>Difficult or </a:t>
            </a:r>
            <a:r>
              <a:rPr sz="1400" b="1" spc="-80">
                <a:latin typeface="Trebuchet MS"/>
                <a:cs typeface="Trebuchet MS"/>
              </a:rPr>
              <a:t>time </a:t>
            </a:r>
            <a:r>
              <a:rPr sz="1400" b="1" spc="-75">
                <a:latin typeface="Trebuchet MS"/>
                <a:cs typeface="Trebuchet MS"/>
              </a:rPr>
              <a:t>consuming </a:t>
            </a:r>
            <a:r>
              <a:rPr sz="1400" b="1" spc="-65">
                <a:latin typeface="Trebuchet MS"/>
                <a:cs typeface="Trebuchet MS"/>
              </a:rPr>
              <a:t>to</a:t>
            </a:r>
            <a:r>
              <a:rPr sz="1400" b="1" spc="-290">
                <a:latin typeface="Trebuchet MS"/>
                <a:cs typeface="Trebuchet MS"/>
              </a:rPr>
              <a:t> </a:t>
            </a:r>
            <a:r>
              <a:rPr sz="1400" b="1" spc="-85">
                <a:latin typeface="Trebuchet MS"/>
                <a:cs typeface="Trebuchet MS"/>
              </a:rPr>
              <a:t>compare  </a:t>
            </a:r>
            <a:r>
              <a:rPr sz="1400" b="1" spc="-95">
                <a:latin typeface="Trebuchet MS"/>
                <a:cs typeface="Trebuchet MS"/>
              </a:rPr>
              <a:t>experiments </a:t>
            </a:r>
            <a:r>
              <a:rPr sz="1400" spc="-45">
                <a:latin typeface="Trebuchet MS"/>
                <a:cs typeface="Trebuchet MS"/>
              </a:rPr>
              <a:t>when </a:t>
            </a:r>
            <a:r>
              <a:rPr sz="1400" spc="-70">
                <a:latin typeface="Trebuchet MS"/>
                <a:cs typeface="Trebuchet MS"/>
              </a:rPr>
              <a:t>re-training</a:t>
            </a:r>
            <a:r>
              <a:rPr sz="1400" spc="-190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models.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836664" y="5367528"/>
            <a:ext cx="546100" cy="542925"/>
            <a:chOff x="6836664" y="5367528"/>
            <a:chExt cx="546100" cy="542925"/>
          </a:xfrm>
        </p:grpSpPr>
        <p:sp>
          <p:nvSpPr>
            <p:cNvPr id="19" name="object 19"/>
            <p:cNvSpPr/>
            <p:nvPr/>
          </p:nvSpPr>
          <p:spPr>
            <a:xfrm>
              <a:off x="6836664" y="5367528"/>
              <a:ext cx="545592" cy="5425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6906768" y="5437632"/>
              <a:ext cx="405383" cy="40538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" name="object 21"/>
          <p:cNvGrpSpPr/>
          <p:nvPr/>
        </p:nvGrpSpPr>
        <p:grpSpPr>
          <a:xfrm>
            <a:off x="6836664" y="3465576"/>
            <a:ext cx="546100" cy="542925"/>
            <a:chOff x="6836664" y="3465576"/>
            <a:chExt cx="546100" cy="542925"/>
          </a:xfrm>
        </p:grpSpPr>
        <p:sp>
          <p:nvSpPr>
            <p:cNvPr id="22" name="object 22"/>
            <p:cNvSpPr/>
            <p:nvPr/>
          </p:nvSpPr>
          <p:spPr>
            <a:xfrm>
              <a:off x="6836664" y="3465576"/>
              <a:ext cx="545592" cy="54254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906768" y="3502152"/>
              <a:ext cx="405383" cy="40538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6836664" y="2584704"/>
            <a:ext cx="546100" cy="542925"/>
            <a:chOff x="6836664" y="2584704"/>
            <a:chExt cx="546100" cy="542925"/>
          </a:xfrm>
        </p:grpSpPr>
        <p:sp>
          <p:nvSpPr>
            <p:cNvPr id="25" name="object 25"/>
            <p:cNvSpPr/>
            <p:nvPr/>
          </p:nvSpPr>
          <p:spPr>
            <a:xfrm>
              <a:off x="6836664" y="2584704"/>
              <a:ext cx="545592" cy="54254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906768" y="2654808"/>
              <a:ext cx="405383" cy="40538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" name="object 27"/>
          <p:cNvGrpSpPr/>
          <p:nvPr/>
        </p:nvGrpSpPr>
        <p:grpSpPr>
          <a:xfrm>
            <a:off x="6836664" y="4450079"/>
            <a:ext cx="546100" cy="542925"/>
            <a:chOff x="6836664" y="4450079"/>
            <a:chExt cx="546100" cy="542925"/>
          </a:xfrm>
        </p:grpSpPr>
        <p:sp>
          <p:nvSpPr>
            <p:cNvPr id="28" name="object 28"/>
            <p:cNvSpPr/>
            <p:nvPr/>
          </p:nvSpPr>
          <p:spPr>
            <a:xfrm>
              <a:off x="6836664" y="4450079"/>
              <a:ext cx="545592" cy="54254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6906768" y="4520183"/>
              <a:ext cx="405383" cy="405383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15</a:t>
            </a:fld>
            <a:endParaRPr spc="-2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23887" y="3789362"/>
            <a:ext cx="833119" cy="2447925"/>
          </a:xfrm>
          <a:custGeom>
            <a:avLst/>
            <a:gdLst/>
            <a:ahLst/>
            <a:cxnLst/>
            <a:rect l="l" t="t" r="r" b="b"/>
            <a:pathLst>
              <a:path w="833119" h="2447925">
                <a:moveTo>
                  <a:pt x="832624" y="0"/>
                </a:moveTo>
                <a:lnTo>
                  <a:pt x="0" y="0"/>
                </a:lnTo>
                <a:lnTo>
                  <a:pt x="0" y="2447926"/>
                </a:lnTo>
                <a:lnTo>
                  <a:pt x="832624" y="2447926"/>
                </a:lnTo>
                <a:lnTo>
                  <a:pt x="832624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707616" y="4471415"/>
            <a:ext cx="666115" cy="1043940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95"/>
              </a:spcBef>
            </a:pPr>
            <a:r>
              <a:rPr sz="1100" spc="-65">
                <a:latin typeface="Trebuchet MS"/>
                <a:cs typeface="Trebuchet MS"/>
              </a:rPr>
              <a:t>The</a:t>
            </a:r>
            <a:r>
              <a:rPr sz="1100" spc="-155">
                <a:latin typeface="Trebuchet MS"/>
                <a:cs typeface="Trebuchet MS"/>
              </a:rPr>
              <a:t> </a:t>
            </a:r>
            <a:r>
              <a:rPr sz="1100" spc="-5">
                <a:latin typeface="Trebuchet MS"/>
                <a:cs typeface="Trebuchet MS"/>
              </a:rPr>
              <a:t>MLOps </a:t>
            </a:r>
            <a:r>
              <a:rPr sz="1100" spc="-15">
                <a:latin typeface="Trebuchet MS"/>
                <a:cs typeface="Trebuchet MS"/>
              </a:rPr>
              <a:t> </a:t>
            </a:r>
            <a:r>
              <a:rPr sz="1100" spc="-40">
                <a:latin typeface="Trebuchet MS"/>
                <a:cs typeface="Trebuchet MS"/>
              </a:rPr>
              <a:t>process  </a:t>
            </a:r>
            <a:r>
              <a:rPr sz="1100" spc="-45">
                <a:latin typeface="Trebuchet MS"/>
                <a:cs typeface="Trebuchet MS"/>
              </a:rPr>
              <a:t>consists </a:t>
            </a:r>
            <a:r>
              <a:rPr sz="1100" spc="-50">
                <a:latin typeface="Trebuchet MS"/>
                <a:cs typeface="Trebuchet MS"/>
              </a:rPr>
              <a:t>of  </a:t>
            </a:r>
            <a:r>
              <a:rPr sz="1100" b="1" spc="-75">
                <a:latin typeface="Trebuchet MS"/>
                <a:cs typeface="Trebuchet MS"/>
              </a:rPr>
              <a:t>three  </a:t>
            </a:r>
            <a:r>
              <a:rPr sz="1100" b="1" spc="-65">
                <a:latin typeface="Trebuchet MS"/>
                <a:cs typeface="Trebuchet MS"/>
              </a:rPr>
              <a:t>iterative  </a:t>
            </a:r>
            <a:r>
              <a:rPr sz="1100" b="1" spc="-55">
                <a:latin typeface="Trebuchet MS"/>
                <a:cs typeface="Trebuchet MS"/>
              </a:rPr>
              <a:t>steps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75"/>
              </a:spcBef>
            </a:pPr>
            <a:r>
              <a:rPr spc="-65"/>
              <a:t>MLOps</a:t>
            </a:r>
            <a:r>
              <a:rPr spc="-180"/>
              <a:t> </a:t>
            </a:r>
            <a:r>
              <a:rPr spc="-105"/>
              <a:t>is</a:t>
            </a:r>
            <a:r>
              <a:rPr spc="-180"/>
              <a:t> </a:t>
            </a:r>
            <a:r>
              <a:rPr spc="-95"/>
              <a:t>a</a:t>
            </a:r>
            <a:r>
              <a:rPr spc="-180"/>
              <a:t> </a:t>
            </a:r>
            <a:r>
              <a:rPr spc="-140"/>
              <a:t>way</a:t>
            </a:r>
            <a:r>
              <a:rPr spc="-180"/>
              <a:t> </a:t>
            </a:r>
            <a:r>
              <a:rPr spc="-105"/>
              <a:t>of</a:t>
            </a:r>
            <a:r>
              <a:rPr spc="-180"/>
              <a:t> </a:t>
            </a:r>
            <a:r>
              <a:rPr spc="-125"/>
              <a:t>working</a:t>
            </a:r>
            <a:r>
              <a:rPr spc="-185"/>
              <a:t> </a:t>
            </a:r>
            <a:r>
              <a:rPr spc="-114"/>
              <a:t>and</a:t>
            </a:r>
            <a:r>
              <a:rPr spc="-185"/>
              <a:t> </a:t>
            </a:r>
            <a:r>
              <a:rPr spc="-95"/>
              <a:t>a</a:t>
            </a:r>
            <a:r>
              <a:rPr spc="-180"/>
              <a:t> </a:t>
            </a:r>
            <a:r>
              <a:rPr spc="-130"/>
              <a:t>set</a:t>
            </a:r>
            <a:r>
              <a:rPr spc="-175"/>
              <a:t> </a:t>
            </a:r>
            <a:r>
              <a:rPr spc="-105"/>
              <a:t>of</a:t>
            </a:r>
            <a:r>
              <a:rPr spc="-180"/>
              <a:t> </a:t>
            </a:r>
            <a:r>
              <a:rPr spc="-100"/>
              <a:t>tools</a:t>
            </a:r>
            <a:r>
              <a:rPr spc="-180"/>
              <a:t> </a:t>
            </a:r>
            <a:r>
              <a:rPr spc="-125"/>
              <a:t>that</a:t>
            </a:r>
            <a:r>
              <a:rPr spc="-175"/>
              <a:t> </a:t>
            </a:r>
            <a:r>
              <a:rPr spc="-135"/>
              <a:t>enable</a:t>
            </a:r>
            <a:r>
              <a:rPr spc="-180"/>
              <a:t> </a:t>
            </a:r>
            <a:r>
              <a:rPr spc="-125"/>
              <a:t>scaling</a:t>
            </a:r>
            <a:r>
              <a:rPr spc="-185"/>
              <a:t> </a:t>
            </a:r>
            <a:r>
              <a:rPr spc="-140"/>
              <a:t>advanced</a:t>
            </a:r>
            <a:r>
              <a:rPr spc="-185"/>
              <a:t> </a:t>
            </a:r>
            <a:r>
              <a:rPr spc="-130"/>
              <a:t>analytics</a:t>
            </a:r>
            <a:r>
              <a:rPr spc="-180"/>
              <a:t> </a:t>
            </a:r>
            <a:r>
              <a:rPr spc="-135"/>
              <a:t>by  </a:t>
            </a:r>
            <a:r>
              <a:rPr spc="-150"/>
              <a:t>reducing</a:t>
            </a:r>
            <a:r>
              <a:rPr spc="-190"/>
              <a:t> </a:t>
            </a:r>
            <a:r>
              <a:rPr spc="-145"/>
              <a:t>the</a:t>
            </a:r>
            <a:r>
              <a:rPr spc="-185"/>
              <a:t> </a:t>
            </a:r>
            <a:r>
              <a:rPr spc="-135"/>
              <a:t>time</a:t>
            </a:r>
            <a:r>
              <a:rPr spc="-180"/>
              <a:t> </a:t>
            </a:r>
            <a:r>
              <a:rPr spc="-130"/>
              <a:t>from</a:t>
            </a:r>
            <a:r>
              <a:rPr spc="-190"/>
              <a:t> </a:t>
            </a:r>
            <a:r>
              <a:rPr spc="-130"/>
              <a:t>idea</a:t>
            </a:r>
            <a:r>
              <a:rPr spc="-180"/>
              <a:t> </a:t>
            </a:r>
            <a:r>
              <a:rPr spc="-105"/>
              <a:t>to</a:t>
            </a:r>
            <a:r>
              <a:rPr spc="-190"/>
              <a:t> </a:t>
            </a:r>
            <a:r>
              <a:rPr spc="-140"/>
              <a:t>value</a:t>
            </a:r>
            <a:r>
              <a:rPr spc="-180"/>
              <a:t> created, </a:t>
            </a:r>
            <a:r>
              <a:rPr spc="-114"/>
              <a:t>and</a:t>
            </a:r>
            <a:r>
              <a:rPr spc="-185"/>
              <a:t> </a:t>
            </a:r>
            <a:r>
              <a:rPr spc="-125"/>
              <a:t>maintain</a:t>
            </a:r>
            <a:r>
              <a:rPr spc="-190"/>
              <a:t> </a:t>
            </a:r>
            <a:r>
              <a:rPr spc="-120"/>
              <a:t>this</a:t>
            </a:r>
            <a:r>
              <a:rPr spc="-180"/>
              <a:t> </a:t>
            </a:r>
            <a:r>
              <a:rPr spc="-130"/>
              <a:t>speed</a:t>
            </a:r>
            <a:r>
              <a:rPr spc="-190"/>
              <a:t> </a:t>
            </a:r>
            <a:r>
              <a:rPr spc="-145"/>
              <a:t>over</a:t>
            </a:r>
            <a:r>
              <a:rPr spc="-185"/>
              <a:t> </a:t>
            </a:r>
            <a:r>
              <a:rPr spc="-135"/>
              <a:t>time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1563611" y="5569711"/>
            <a:ext cx="1275080" cy="59563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69850" indent="-57785">
              <a:lnSpc>
                <a:spcPct val="100000"/>
              </a:lnSpc>
              <a:spcBef>
                <a:spcPts val="220"/>
              </a:spcBef>
              <a:buSzPct val="88888"/>
              <a:buChar char="•"/>
              <a:tabLst>
                <a:tab pos="70485" algn="l"/>
              </a:tabLst>
            </a:pPr>
            <a:r>
              <a:rPr sz="900" spc="-40">
                <a:latin typeface="Trebuchet MS"/>
                <a:cs typeface="Trebuchet MS"/>
              </a:rPr>
              <a:t>Value-&gt;Action-&gt;Insight</a:t>
            </a:r>
            <a:endParaRPr sz="900">
              <a:latin typeface="Trebuchet MS"/>
              <a:cs typeface="Trebuchet MS"/>
            </a:endParaRPr>
          </a:p>
          <a:p>
            <a:pPr marL="69850" marR="65405" indent="-57150">
              <a:lnSpc>
                <a:spcPts val="890"/>
              </a:lnSpc>
              <a:spcBef>
                <a:spcPts val="305"/>
              </a:spcBef>
              <a:buSzPct val="88888"/>
              <a:buChar char="•"/>
              <a:tabLst>
                <a:tab pos="70485" algn="l"/>
              </a:tabLst>
            </a:pPr>
            <a:r>
              <a:rPr sz="900" spc="-45">
                <a:latin typeface="Trebuchet MS"/>
                <a:cs typeface="Trebuchet MS"/>
              </a:rPr>
              <a:t>Functional </a:t>
            </a:r>
            <a:r>
              <a:rPr sz="900" spc="-35">
                <a:latin typeface="Trebuchet MS"/>
                <a:cs typeface="Trebuchet MS"/>
              </a:rPr>
              <a:t>and</a:t>
            </a:r>
            <a:r>
              <a:rPr sz="900" spc="-145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technical  </a:t>
            </a:r>
            <a:r>
              <a:rPr sz="900" spc="-40">
                <a:latin typeface="Trebuchet MS"/>
                <a:cs typeface="Trebuchet MS"/>
              </a:rPr>
              <a:t>requirements</a:t>
            </a:r>
            <a:endParaRPr sz="900">
              <a:latin typeface="Trebuchet MS"/>
              <a:cs typeface="Trebuchet MS"/>
            </a:endParaRPr>
          </a:p>
          <a:p>
            <a:pPr marL="69850" indent="-57785">
              <a:lnSpc>
                <a:spcPct val="100000"/>
              </a:lnSpc>
              <a:spcBef>
                <a:spcPts val="120"/>
              </a:spcBef>
              <a:buSzPct val="88888"/>
              <a:buChar char="•"/>
              <a:tabLst>
                <a:tab pos="70485" algn="l"/>
              </a:tabLst>
            </a:pPr>
            <a:r>
              <a:rPr sz="900" spc="-45">
                <a:latin typeface="Trebuchet MS"/>
                <a:cs typeface="Trebuchet MS"/>
              </a:rPr>
              <a:t>Prioritization </a:t>
            </a:r>
            <a:r>
              <a:rPr sz="900" spc="-35">
                <a:latin typeface="Trebuchet MS"/>
                <a:cs typeface="Trebuchet MS"/>
              </a:rPr>
              <a:t>of</a:t>
            </a:r>
            <a:r>
              <a:rPr sz="900" spc="-130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use-cases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23887" y="1628775"/>
            <a:ext cx="5380990" cy="59944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99060" rIns="0" bIns="0" rtlCol="0">
            <a:spAutoFit/>
          </a:bodyPr>
          <a:lstStyle/>
          <a:p>
            <a:pPr marL="1299210" marR="1127125" indent="-164465">
              <a:lnSpc>
                <a:spcPct val="103299"/>
              </a:lnSpc>
              <a:spcBef>
                <a:spcPts val="780"/>
              </a:spcBef>
            </a:pPr>
            <a:r>
              <a:rPr sz="1200" spc="-10">
                <a:latin typeface="Trebuchet MS"/>
                <a:cs typeface="Trebuchet MS"/>
              </a:rPr>
              <a:t>MLOps </a:t>
            </a:r>
            <a:r>
              <a:rPr sz="1200" spc="-45">
                <a:latin typeface="Trebuchet MS"/>
                <a:cs typeface="Trebuchet MS"/>
              </a:rPr>
              <a:t>is </a:t>
            </a:r>
            <a:r>
              <a:rPr sz="1200" spc="-60">
                <a:latin typeface="Trebuchet MS"/>
                <a:cs typeface="Trebuchet MS"/>
              </a:rPr>
              <a:t>a </a:t>
            </a:r>
            <a:r>
              <a:rPr sz="1200" b="1" spc="-70">
                <a:latin typeface="Trebuchet MS"/>
                <a:cs typeface="Trebuchet MS"/>
              </a:rPr>
              <a:t>way </a:t>
            </a:r>
            <a:r>
              <a:rPr sz="1200" b="1" spc="-50">
                <a:latin typeface="Trebuchet MS"/>
                <a:cs typeface="Trebuchet MS"/>
              </a:rPr>
              <a:t>of </a:t>
            </a:r>
            <a:r>
              <a:rPr sz="1200" b="1" spc="-60">
                <a:latin typeface="Trebuchet MS"/>
                <a:cs typeface="Trebuchet MS"/>
              </a:rPr>
              <a:t>working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60">
                <a:latin typeface="Trebuchet MS"/>
                <a:cs typeface="Trebuchet MS"/>
              </a:rPr>
              <a:t>a </a:t>
            </a:r>
            <a:r>
              <a:rPr sz="1200" b="1" spc="-70">
                <a:latin typeface="Trebuchet MS"/>
                <a:cs typeface="Trebuchet MS"/>
              </a:rPr>
              <a:t>set </a:t>
            </a:r>
            <a:r>
              <a:rPr sz="1200" b="1" spc="-50">
                <a:latin typeface="Trebuchet MS"/>
                <a:cs typeface="Trebuchet MS"/>
              </a:rPr>
              <a:t>of tools</a:t>
            </a:r>
            <a:r>
              <a:rPr sz="1200" b="1" spc="-22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that  </a:t>
            </a:r>
            <a:r>
              <a:rPr sz="1200" spc="-60">
                <a:latin typeface="Trebuchet MS"/>
                <a:cs typeface="Trebuchet MS"/>
              </a:rPr>
              <a:t>decrease the </a:t>
            </a:r>
            <a:r>
              <a:rPr sz="1200" spc="-65">
                <a:latin typeface="Trebuchet MS"/>
                <a:cs typeface="Trebuchet MS"/>
              </a:rPr>
              <a:t>time </a:t>
            </a:r>
            <a:r>
              <a:rPr sz="1200" spc="-50">
                <a:latin typeface="Trebuchet MS"/>
                <a:cs typeface="Trebuchet MS"/>
              </a:rPr>
              <a:t>from </a:t>
            </a:r>
            <a:r>
              <a:rPr sz="1200" spc="-60">
                <a:latin typeface="Trebuchet MS"/>
                <a:cs typeface="Trebuchet MS"/>
              </a:rPr>
              <a:t>idea </a:t>
            </a:r>
            <a:r>
              <a:rPr sz="1200" spc="-50">
                <a:latin typeface="Trebuchet MS"/>
                <a:cs typeface="Trebuchet MS"/>
              </a:rPr>
              <a:t>to </a:t>
            </a:r>
            <a:r>
              <a:rPr sz="1200" spc="-65">
                <a:latin typeface="Trebuchet MS"/>
                <a:cs typeface="Trebuchet MS"/>
              </a:rPr>
              <a:t>value</a:t>
            </a:r>
            <a:r>
              <a:rPr sz="1200" spc="-270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created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223564" y="5569711"/>
            <a:ext cx="1104900" cy="59563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69850" indent="-57785">
              <a:lnSpc>
                <a:spcPct val="100000"/>
              </a:lnSpc>
              <a:spcBef>
                <a:spcPts val="220"/>
              </a:spcBef>
              <a:buSzPct val="88888"/>
              <a:buChar char="•"/>
              <a:tabLst>
                <a:tab pos="70485" algn="l"/>
              </a:tabLst>
            </a:pPr>
            <a:r>
              <a:rPr sz="900" spc="-40">
                <a:latin typeface="Trebuchet MS"/>
                <a:cs typeface="Trebuchet MS"/>
              </a:rPr>
              <a:t>Data</a:t>
            </a:r>
            <a:r>
              <a:rPr sz="900" spc="-9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Engineering</a:t>
            </a:r>
            <a:endParaRPr sz="900">
              <a:latin typeface="Trebuchet MS"/>
              <a:cs typeface="Trebuchet MS"/>
            </a:endParaRPr>
          </a:p>
          <a:p>
            <a:pPr marL="69850" indent="-57785">
              <a:lnSpc>
                <a:spcPct val="100000"/>
              </a:lnSpc>
              <a:spcBef>
                <a:spcPts val="120"/>
              </a:spcBef>
              <a:buSzPct val="88888"/>
              <a:buChar char="•"/>
              <a:tabLst>
                <a:tab pos="70485" algn="l"/>
              </a:tabLst>
            </a:pPr>
            <a:r>
              <a:rPr sz="900" spc="-5">
                <a:latin typeface="Trebuchet MS"/>
                <a:cs typeface="Trebuchet MS"/>
              </a:rPr>
              <a:t>Model</a:t>
            </a:r>
            <a:r>
              <a:rPr sz="900" spc="-9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development</a:t>
            </a:r>
            <a:endParaRPr sz="900">
              <a:latin typeface="Trebuchet MS"/>
              <a:cs typeface="Trebuchet MS"/>
            </a:endParaRPr>
          </a:p>
          <a:p>
            <a:pPr marL="69850" marR="5080" indent="-57150">
              <a:lnSpc>
                <a:spcPts val="1010"/>
              </a:lnSpc>
              <a:spcBef>
                <a:spcPts val="90"/>
              </a:spcBef>
              <a:buSzPct val="88888"/>
              <a:buChar char="•"/>
              <a:tabLst>
                <a:tab pos="70485" algn="l"/>
              </a:tabLst>
            </a:pPr>
            <a:r>
              <a:rPr sz="900" spc="-45">
                <a:latin typeface="Trebuchet MS"/>
                <a:cs typeface="Trebuchet MS"/>
              </a:rPr>
              <a:t>Testing </a:t>
            </a:r>
            <a:r>
              <a:rPr sz="900" spc="-35">
                <a:latin typeface="Trebuchet MS"/>
                <a:cs typeface="Trebuchet MS"/>
              </a:rPr>
              <a:t>and</a:t>
            </a:r>
            <a:r>
              <a:rPr sz="900" spc="-165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validation  </a:t>
            </a:r>
            <a:r>
              <a:rPr sz="900" spc="-35">
                <a:latin typeface="Trebuchet MS"/>
                <a:cs typeface="Trebuchet MS"/>
              </a:rPr>
              <a:t>of</a:t>
            </a:r>
            <a:r>
              <a:rPr sz="900" spc="-80">
                <a:latin typeface="Trebuchet MS"/>
                <a:cs typeface="Trebuchet MS"/>
              </a:rPr>
              <a:t> </a:t>
            </a:r>
            <a:r>
              <a:rPr sz="900" spc="-30">
                <a:latin typeface="Trebuchet MS"/>
                <a:cs typeface="Trebuchet MS"/>
              </a:rPr>
              <a:t>models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115756" y="4521708"/>
            <a:ext cx="51244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35">
                <a:latin typeface="Trebuchet MS"/>
                <a:cs typeface="Trebuchet MS"/>
              </a:rPr>
              <a:t>De</a:t>
            </a:r>
            <a:r>
              <a:rPr sz="1400" spc="-20">
                <a:latin typeface="Trebuchet MS"/>
                <a:cs typeface="Trebuchet MS"/>
              </a:rPr>
              <a:t>s</a:t>
            </a:r>
            <a:r>
              <a:rPr sz="1400" spc="-80">
                <a:latin typeface="Trebuchet MS"/>
                <a:cs typeface="Trebuchet MS"/>
              </a:rPr>
              <a:t>i</a:t>
            </a:r>
            <a:r>
              <a:rPr sz="1400" spc="-45">
                <a:latin typeface="Trebuchet MS"/>
                <a:cs typeface="Trebuchet MS"/>
              </a:rPr>
              <a:t>g</a:t>
            </a:r>
            <a:r>
              <a:rPr sz="1400" spc="-30">
                <a:latin typeface="Trebuchet MS"/>
                <a:cs typeface="Trebuchet MS"/>
              </a:rPr>
              <a:t>n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227171" y="4415028"/>
            <a:ext cx="98615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45110">
              <a:lnSpc>
                <a:spcPct val="100000"/>
              </a:lnSpc>
              <a:spcBef>
                <a:spcPts val="100"/>
              </a:spcBef>
            </a:pPr>
            <a:r>
              <a:rPr sz="1400" spc="-5">
                <a:latin typeface="Trebuchet MS"/>
                <a:cs typeface="Trebuchet MS"/>
              </a:rPr>
              <a:t>Model  </a:t>
            </a:r>
            <a:r>
              <a:rPr sz="1400" spc="-60">
                <a:latin typeface="Trebuchet MS"/>
                <a:cs typeface="Trebuchet MS"/>
              </a:rPr>
              <a:t>d</a:t>
            </a:r>
            <a:r>
              <a:rPr sz="1400" spc="-65">
                <a:latin typeface="Trebuchet MS"/>
                <a:cs typeface="Trebuchet MS"/>
              </a:rPr>
              <a:t>ev</a:t>
            </a:r>
            <a:r>
              <a:rPr sz="1400" spc="-80">
                <a:latin typeface="Trebuchet MS"/>
                <a:cs typeface="Trebuchet MS"/>
              </a:rPr>
              <a:t>el</a:t>
            </a:r>
            <a:r>
              <a:rPr sz="1400" spc="-20">
                <a:latin typeface="Trebuchet MS"/>
                <a:cs typeface="Trebuchet MS"/>
              </a:rPr>
              <a:t>o</a:t>
            </a:r>
            <a:r>
              <a:rPr sz="1400" spc="-40">
                <a:latin typeface="Trebuchet MS"/>
                <a:cs typeface="Trebuchet MS"/>
              </a:rPr>
              <a:t>p</a:t>
            </a:r>
            <a:r>
              <a:rPr sz="1400" spc="-65">
                <a:latin typeface="Trebuchet MS"/>
                <a:cs typeface="Trebuchet MS"/>
              </a:rPr>
              <a:t>m</a:t>
            </a:r>
            <a:r>
              <a:rPr sz="1400" spc="-50">
                <a:latin typeface="Trebuchet MS"/>
                <a:cs typeface="Trebuchet MS"/>
              </a:rPr>
              <a:t>e</a:t>
            </a:r>
            <a:r>
              <a:rPr sz="1400" spc="-60">
                <a:latin typeface="Trebuchet MS"/>
                <a:cs typeface="Trebuchet MS"/>
              </a:rPr>
              <a:t>n</a:t>
            </a:r>
            <a:r>
              <a:rPr sz="1400" spc="-90">
                <a:latin typeface="Trebuchet MS"/>
                <a:cs typeface="Trebuchet MS"/>
              </a:rPr>
              <a:t>t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701806" y="4521708"/>
            <a:ext cx="82105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70">
                <a:latin typeface="Trebuchet MS"/>
                <a:cs typeface="Trebuchet MS"/>
              </a:rPr>
              <a:t>P</a:t>
            </a:r>
            <a:r>
              <a:rPr sz="1400" spc="-75">
                <a:latin typeface="Trebuchet MS"/>
                <a:cs typeface="Trebuchet MS"/>
              </a:rPr>
              <a:t>r</a:t>
            </a:r>
            <a:r>
              <a:rPr sz="1400" spc="-20">
                <a:latin typeface="Trebuchet MS"/>
                <a:cs typeface="Trebuchet MS"/>
              </a:rPr>
              <a:t>o</a:t>
            </a:r>
            <a:r>
              <a:rPr sz="1400" spc="-45">
                <a:latin typeface="Trebuchet MS"/>
                <a:cs typeface="Trebuchet MS"/>
              </a:rPr>
              <a:t>d</a:t>
            </a:r>
            <a:r>
              <a:rPr sz="1400" spc="-30">
                <a:latin typeface="Trebuchet MS"/>
                <a:cs typeface="Trebuchet MS"/>
              </a:rPr>
              <a:t>u</a:t>
            </a:r>
            <a:r>
              <a:rPr sz="1400" spc="-110">
                <a:latin typeface="Trebuchet MS"/>
                <a:cs typeface="Trebuchet MS"/>
              </a:rPr>
              <a:t>c</a:t>
            </a:r>
            <a:r>
              <a:rPr sz="1400" spc="-85">
                <a:latin typeface="Trebuchet MS"/>
                <a:cs typeface="Trebuchet MS"/>
              </a:rPr>
              <a:t>t</a:t>
            </a:r>
            <a:r>
              <a:rPr sz="1400" spc="-80">
                <a:latin typeface="Trebuchet MS"/>
                <a:cs typeface="Trebuchet MS"/>
              </a:rPr>
              <a:t>i</a:t>
            </a:r>
            <a:r>
              <a:rPr sz="1400" spc="-20">
                <a:latin typeface="Trebuchet MS"/>
                <a:cs typeface="Trebuchet MS"/>
              </a:rPr>
              <a:t>o</a:t>
            </a:r>
            <a:r>
              <a:rPr sz="1400" spc="-30">
                <a:latin typeface="Trebuchet MS"/>
                <a:cs typeface="Trebuchet MS"/>
              </a:rPr>
              <a:t>n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1562204" y="3842345"/>
            <a:ext cx="4360545" cy="1620520"/>
            <a:chOff x="1562204" y="3842345"/>
            <a:chExt cx="4360545" cy="1620520"/>
          </a:xfrm>
        </p:grpSpPr>
        <p:sp>
          <p:nvSpPr>
            <p:cNvPr id="12" name="object 12"/>
            <p:cNvSpPr/>
            <p:nvPr/>
          </p:nvSpPr>
          <p:spPr>
            <a:xfrm>
              <a:off x="1590776" y="3871163"/>
              <a:ext cx="1562722" cy="156265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590779" y="3871163"/>
              <a:ext cx="1562735" cy="1562735"/>
            </a:xfrm>
            <a:custGeom>
              <a:avLst/>
              <a:gdLst/>
              <a:ahLst/>
              <a:cxnLst/>
              <a:rect l="l" t="t" r="r" b="b"/>
              <a:pathLst>
                <a:path w="1562735" h="1562735">
                  <a:moveTo>
                    <a:pt x="1562725" y="800824"/>
                  </a:moveTo>
                  <a:lnTo>
                    <a:pt x="1560102" y="848385"/>
                  </a:lnTo>
                  <a:lnTo>
                    <a:pt x="1554702" y="895122"/>
                  </a:lnTo>
                  <a:lnTo>
                    <a:pt x="1546606" y="940956"/>
                  </a:lnTo>
                  <a:lnTo>
                    <a:pt x="1535900" y="985806"/>
                  </a:lnTo>
                  <a:lnTo>
                    <a:pt x="1522666" y="1029593"/>
                  </a:lnTo>
                  <a:lnTo>
                    <a:pt x="1506989" y="1072237"/>
                  </a:lnTo>
                  <a:lnTo>
                    <a:pt x="1488952" y="1113659"/>
                  </a:lnTo>
                  <a:lnTo>
                    <a:pt x="1468640" y="1153778"/>
                  </a:lnTo>
                  <a:lnTo>
                    <a:pt x="1446135" y="1192516"/>
                  </a:lnTo>
                  <a:lnTo>
                    <a:pt x="1421522" y="1229792"/>
                  </a:lnTo>
                  <a:lnTo>
                    <a:pt x="1394885" y="1265527"/>
                  </a:lnTo>
                  <a:lnTo>
                    <a:pt x="1366307" y="1299642"/>
                  </a:lnTo>
                  <a:lnTo>
                    <a:pt x="1335872" y="1332055"/>
                  </a:lnTo>
                  <a:lnTo>
                    <a:pt x="1303664" y="1362689"/>
                  </a:lnTo>
                  <a:lnTo>
                    <a:pt x="1269767" y="1391462"/>
                  </a:lnTo>
                  <a:lnTo>
                    <a:pt x="1234264" y="1418296"/>
                  </a:lnTo>
                  <a:lnTo>
                    <a:pt x="1197239" y="1443110"/>
                  </a:lnTo>
                  <a:lnTo>
                    <a:pt x="1158777" y="1465826"/>
                  </a:lnTo>
                  <a:lnTo>
                    <a:pt x="1118960" y="1486363"/>
                  </a:lnTo>
                  <a:lnTo>
                    <a:pt x="1077872" y="1504641"/>
                  </a:lnTo>
                  <a:lnTo>
                    <a:pt x="1035599" y="1520581"/>
                  </a:lnTo>
                  <a:lnTo>
                    <a:pt x="992222" y="1534104"/>
                  </a:lnTo>
                  <a:lnTo>
                    <a:pt x="947826" y="1545129"/>
                  </a:lnTo>
                  <a:lnTo>
                    <a:pt x="902495" y="1553576"/>
                  </a:lnTo>
                  <a:lnTo>
                    <a:pt x="856313" y="1559367"/>
                  </a:lnTo>
                  <a:lnTo>
                    <a:pt x="809362" y="1562422"/>
                  </a:lnTo>
                  <a:lnTo>
                    <a:pt x="761728" y="1562660"/>
                  </a:lnTo>
                  <a:lnTo>
                    <a:pt x="714166" y="1560046"/>
                  </a:lnTo>
                  <a:lnTo>
                    <a:pt x="667428" y="1554654"/>
                  </a:lnTo>
                  <a:lnTo>
                    <a:pt x="621594" y="1546567"/>
                  </a:lnTo>
                  <a:lnTo>
                    <a:pt x="576744" y="1535869"/>
                  </a:lnTo>
                  <a:lnTo>
                    <a:pt x="532957" y="1522644"/>
                  </a:lnTo>
                  <a:lnTo>
                    <a:pt x="490314" y="1506976"/>
                  </a:lnTo>
                  <a:lnTo>
                    <a:pt x="448894" y="1488947"/>
                  </a:lnTo>
                  <a:lnTo>
                    <a:pt x="408776" y="1468643"/>
                  </a:lnTo>
                  <a:lnTo>
                    <a:pt x="370041" y="1446146"/>
                  </a:lnTo>
                  <a:lnTo>
                    <a:pt x="332767" y="1421541"/>
                  </a:lnTo>
                  <a:lnTo>
                    <a:pt x="297035" y="1394911"/>
                  </a:lnTo>
                  <a:lnTo>
                    <a:pt x="262924" y="1366340"/>
                  </a:lnTo>
                  <a:lnTo>
                    <a:pt x="230515" y="1335913"/>
                  </a:lnTo>
                  <a:lnTo>
                    <a:pt x="199885" y="1303712"/>
                  </a:lnTo>
                  <a:lnTo>
                    <a:pt x="171117" y="1269821"/>
                  </a:lnTo>
                  <a:lnTo>
                    <a:pt x="144288" y="1234324"/>
                  </a:lnTo>
                  <a:lnTo>
                    <a:pt x="119479" y="1197306"/>
                  </a:lnTo>
                  <a:lnTo>
                    <a:pt x="96769" y="1158849"/>
                  </a:lnTo>
                  <a:lnTo>
                    <a:pt x="76238" y="1119038"/>
                  </a:lnTo>
                  <a:lnTo>
                    <a:pt x="57966" y="1077956"/>
                  </a:lnTo>
                  <a:lnTo>
                    <a:pt x="42033" y="1035687"/>
                  </a:lnTo>
                  <a:lnTo>
                    <a:pt x="28517" y="992314"/>
                  </a:lnTo>
                  <a:lnTo>
                    <a:pt x="17499" y="947923"/>
                  </a:lnTo>
                  <a:lnTo>
                    <a:pt x="9059" y="902595"/>
                  </a:lnTo>
                  <a:lnTo>
                    <a:pt x="3276" y="856416"/>
                  </a:lnTo>
                  <a:lnTo>
                    <a:pt x="229" y="809469"/>
                  </a:lnTo>
                  <a:lnTo>
                    <a:pt x="0" y="761837"/>
                  </a:lnTo>
                  <a:lnTo>
                    <a:pt x="2621" y="714276"/>
                  </a:lnTo>
                  <a:lnTo>
                    <a:pt x="8021" y="667539"/>
                  </a:lnTo>
                  <a:lnTo>
                    <a:pt x="16116" y="621705"/>
                  </a:lnTo>
                  <a:lnTo>
                    <a:pt x="26822" y="576855"/>
                  </a:lnTo>
                  <a:lnTo>
                    <a:pt x="40055" y="533068"/>
                  </a:lnTo>
                  <a:lnTo>
                    <a:pt x="55732" y="490424"/>
                  </a:lnTo>
                  <a:lnTo>
                    <a:pt x="73768" y="449002"/>
                  </a:lnTo>
                  <a:lnTo>
                    <a:pt x="94081" y="408882"/>
                  </a:lnTo>
                  <a:lnTo>
                    <a:pt x="116585" y="370145"/>
                  </a:lnTo>
                  <a:lnTo>
                    <a:pt x="141198" y="332868"/>
                  </a:lnTo>
                  <a:lnTo>
                    <a:pt x="167835" y="297133"/>
                  </a:lnTo>
                  <a:lnTo>
                    <a:pt x="196413" y="263019"/>
                  </a:lnTo>
                  <a:lnTo>
                    <a:pt x="226848" y="230606"/>
                  </a:lnTo>
                  <a:lnTo>
                    <a:pt x="259056" y="199973"/>
                  </a:lnTo>
                  <a:lnTo>
                    <a:pt x="292953" y="171199"/>
                  </a:lnTo>
                  <a:lnTo>
                    <a:pt x="328456" y="144366"/>
                  </a:lnTo>
                  <a:lnTo>
                    <a:pt x="365481" y="119551"/>
                  </a:lnTo>
                  <a:lnTo>
                    <a:pt x="403943" y="96836"/>
                  </a:lnTo>
                  <a:lnTo>
                    <a:pt x="443760" y="76299"/>
                  </a:lnTo>
                  <a:lnTo>
                    <a:pt x="484847" y="58021"/>
                  </a:lnTo>
                  <a:lnTo>
                    <a:pt x="527121" y="42080"/>
                  </a:lnTo>
                  <a:lnTo>
                    <a:pt x="570497" y="28558"/>
                  </a:lnTo>
                  <a:lnTo>
                    <a:pt x="614892" y="17533"/>
                  </a:lnTo>
                  <a:lnTo>
                    <a:pt x="660223" y="9084"/>
                  </a:lnTo>
                  <a:lnTo>
                    <a:pt x="706405" y="3293"/>
                  </a:lnTo>
                  <a:lnTo>
                    <a:pt x="753355" y="238"/>
                  </a:lnTo>
                  <a:lnTo>
                    <a:pt x="800988" y="0"/>
                  </a:lnTo>
                  <a:lnTo>
                    <a:pt x="848901" y="2670"/>
                  </a:lnTo>
                  <a:lnTo>
                    <a:pt x="896358" y="8244"/>
                  </a:lnTo>
                  <a:lnTo>
                    <a:pt x="943235" y="16677"/>
                  </a:lnTo>
                  <a:lnTo>
                    <a:pt x="989407" y="27920"/>
                  </a:lnTo>
                  <a:lnTo>
                    <a:pt x="1034750" y="41928"/>
                  </a:lnTo>
                  <a:lnTo>
                    <a:pt x="1079139" y="58653"/>
                  </a:lnTo>
                  <a:lnTo>
                    <a:pt x="1122451" y="78049"/>
                  </a:lnTo>
                  <a:lnTo>
                    <a:pt x="1164559" y="100069"/>
                  </a:lnTo>
                  <a:lnTo>
                    <a:pt x="1205341" y="124667"/>
                  </a:lnTo>
                  <a:lnTo>
                    <a:pt x="1244672" y="151794"/>
                  </a:lnTo>
                  <a:lnTo>
                    <a:pt x="1282427" y="181405"/>
                  </a:lnTo>
                  <a:lnTo>
                    <a:pt x="1384413" y="113645"/>
                  </a:lnTo>
                  <a:lnTo>
                    <a:pt x="1349301" y="404011"/>
                  </a:lnTo>
                  <a:lnTo>
                    <a:pt x="1005869" y="365134"/>
                  </a:lnTo>
                  <a:lnTo>
                    <a:pt x="1106279" y="298425"/>
                  </a:lnTo>
                  <a:lnTo>
                    <a:pt x="1065600" y="273389"/>
                  </a:lnTo>
                  <a:lnTo>
                    <a:pt x="1023705" y="252064"/>
                  </a:lnTo>
                  <a:lnTo>
                    <a:pt x="980800" y="234411"/>
                  </a:lnTo>
                  <a:lnTo>
                    <a:pt x="937095" y="220387"/>
                  </a:lnTo>
                  <a:lnTo>
                    <a:pt x="892796" y="209954"/>
                  </a:lnTo>
                  <a:lnTo>
                    <a:pt x="848112" y="203069"/>
                  </a:lnTo>
                  <a:lnTo>
                    <a:pt x="803251" y="199693"/>
                  </a:lnTo>
                  <a:lnTo>
                    <a:pt x="758420" y="199784"/>
                  </a:lnTo>
                  <a:lnTo>
                    <a:pt x="713828" y="203302"/>
                  </a:lnTo>
                  <a:lnTo>
                    <a:pt x="669682" y="210207"/>
                  </a:lnTo>
                  <a:lnTo>
                    <a:pt x="626190" y="220457"/>
                  </a:lnTo>
                  <a:lnTo>
                    <a:pt x="583560" y="234011"/>
                  </a:lnTo>
                  <a:lnTo>
                    <a:pt x="542000" y="250830"/>
                  </a:lnTo>
                  <a:lnTo>
                    <a:pt x="501717" y="270873"/>
                  </a:lnTo>
                  <a:lnTo>
                    <a:pt x="462921" y="294098"/>
                  </a:lnTo>
                  <a:lnTo>
                    <a:pt x="425818" y="320465"/>
                  </a:lnTo>
                  <a:lnTo>
                    <a:pt x="390616" y="349933"/>
                  </a:lnTo>
                  <a:lnTo>
                    <a:pt x="357524" y="382462"/>
                  </a:lnTo>
                  <a:lnTo>
                    <a:pt x="326749" y="418011"/>
                  </a:lnTo>
                  <a:lnTo>
                    <a:pt x="298500" y="456540"/>
                  </a:lnTo>
                  <a:lnTo>
                    <a:pt x="273451" y="497222"/>
                  </a:lnTo>
                  <a:lnTo>
                    <a:pt x="252115" y="539119"/>
                  </a:lnTo>
                  <a:lnTo>
                    <a:pt x="234449" y="582025"/>
                  </a:lnTo>
                  <a:lnTo>
                    <a:pt x="220414" y="625732"/>
                  </a:lnTo>
                  <a:lnTo>
                    <a:pt x="209970" y="670030"/>
                  </a:lnTo>
                  <a:lnTo>
                    <a:pt x="203074" y="714713"/>
                  </a:lnTo>
                  <a:lnTo>
                    <a:pt x="199687" y="759573"/>
                  </a:lnTo>
                  <a:lnTo>
                    <a:pt x="199767" y="804402"/>
                  </a:lnTo>
                  <a:lnTo>
                    <a:pt x="203276" y="848991"/>
                  </a:lnTo>
                  <a:lnTo>
                    <a:pt x="210170" y="893133"/>
                  </a:lnTo>
                  <a:lnTo>
                    <a:pt x="220411" y="936621"/>
                  </a:lnTo>
                  <a:lnTo>
                    <a:pt x="233957" y="979245"/>
                  </a:lnTo>
                  <a:lnTo>
                    <a:pt x="250767" y="1020799"/>
                  </a:lnTo>
                  <a:lnTo>
                    <a:pt x="270802" y="1061075"/>
                  </a:lnTo>
                  <a:lnTo>
                    <a:pt x="294019" y="1099864"/>
                  </a:lnTo>
                  <a:lnTo>
                    <a:pt x="320380" y="1136958"/>
                  </a:lnTo>
                  <a:lnTo>
                    <a:pt x="349842" y="1172151"/>
                  </a:lnTo>
                  <a:lnTo>
                    <a:pt x="382366" y="1205233"/>
                  </a:lnTo>
                  <a:lnTo>
                    <a:pt x="417911" y="1235998"/>
                  </a:lnTo>
                  <a:lnTo>
                    <a:pt x="456435" y="1264236"/>
                  </a:lnTo>
                  <a:lnTo>
                    <a:pt x="497114" y="1289273"/>
                  </a:lnTo>
                  <a:lnTo>
                    <a:pt x="539010" y="1310599"/>
                  </a:lnTo>
                  <a:lnTo>
                    <a:pt x="581915" y="1328253"/>
                  </a:lnTo>
                  <a:lnTo>
                    <a:pt x="625621" y="1342277"/>
                  </a:lnTo>
                  <a:lnTo>
                    <a:pt x="669920" y="1352711"/>
                  </a:lnTo>
                  <a:lnTo>
                    <a:pt x="714604" y="1359596"/>
                  </a:lnTo>
                  <a:lnTo>
                    <a:pt x="759465" y="1362973"/>
                  </a:lnTo>
                  <a:lnTo>
                    <a:pt x="804296" y="1362882"/>
                  </a:lnTo>
                  <a:lnTo>
                    <a:pt x="848889" y="1359364"/>
                  </a:lnTo>
                  <a:lnTo>
                    <a:pt x="893035" y="1352459"/>
                  </a:lnTo>
                  <a:lnTo>
                    <a:pt x="936528" y="1342210"/>
                  </a:lnTo>
                  <a:lnTo>
                    <a:pt x="979158" y="1328655"/>
                  </a:lnTo>
                  <a:lnTo>
                    <a:pt x="1020718" y="1311836"/>
                  </a:lnTo>
                  <a:lnTo>
                    <a:pt x="1061000" y="1291793"/>
                  </a:lnTo>
                  <a:lnTo>
                    <a:pt x="1099797" y="1268568"/>
                  </a:lnTo>
                  <a:lnTo>
                    <a:pt x="1136899" y="1242201"/>
                  </a:lnTo>
                  <a:lnTo>
                    <a:pt x="1172101" y="1212732"/>
                  </a:lnTo>
                  <a:lnTo>
                    <a:pt x="1205193" y="1180202"/>
                  </a:lnTo>
                  <a:lnTo>
                    <a:pt x="1235968" y="1144652"/>
                  </a:lnTo>
                  <a:lnTo>
                    <a:pt x="1264217" y="1106123"/>
                  </a:lnTo>
                  <a:lnTo>
                    <a:pt x="1289023" y="1065809"/>
                  </a:lnTo>
                  <a:lnTo>
                    <a:pt x="1310390" y="1023789"/>
                  </a:lnTo>
                  <a:lnTo>
                    <a:pt x="1328248" y="980285"/>
                  </a:lnTo>
                  <a:lnTo>
                    <a:pt x="1342527" y="935517"/>
                  </a:lnTo>
                  <a:lnTo>
                    <a:pt x="1353155" y="889708"/>
                  </a:lnTo>
                  <a:lnTo>
                    <a:pt x="1360062" y="843077"/>
                  </a:lnTo>
                  <a:lnTo>
                    <a:pt x="1363178" y="795847"/>
                  </a:lnTo>
                  <a:lnTo>
                    <a:pt x="1562725" y="800824"/>
                  </a:lnTo>
                  <a:close/>
                </a:path>
              </a:pathLst>
            </a:custGeom>
            <a:ln w="571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962211" y="3871207"/>
              <a:ext cx="1562483" cy="156258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2962219" y="3871207"/>
              <a:ext cx="1562735" cy="1562735"/>
            </a:xfrm>
            <a:custGeom>
              <a:avLst/>
              <a:gdLst/>
              <a:ahLst/>
              <a:cxnLst/>
              <a:rect l="l" t="t" r="r" b="b"/>
              <a:pathLst>
                <a:path w="1562735" h="1562735">
                  <a:moveTo>
                    <a:pt x="0" y="756319"/>
                  </a:moveTo>
                  <a:lnTo>
                    <a:pt x="2955" y="708777"/>
                  </a:lnTo>
                  <a:lnTo>
                    <a:pt x="8682" y="662077"/>
                  </a:lnTo>
                  <a:lnTo>
                    <a:pt x="17098" y="616301"/>
                  </a:lnTo>
                  <a:lnTo>
                    <a:pt x="28119" y="571526"/>
                  </a:lnTo>
                  <a:lnTo>
                    <a:pt x="41658" y="527832"/>
                  </a:lnTo>
                  <a:lnTo>
                    <a:pt x="57633" y="485298"/>
                  </a:lnTo>
                  <a:lnTo>
                    <a:pt x="75959" y="444002"/>
                  </a:lnTo>
                  <a:lnTo>
                    <a:pt x="96552" y="404025"/>
                  </a:lnTo>
                  <a:lnTo>
                    <a:pt x="119327" y="365445"/>
                  </a:lnTo>
                  <a:lnTo>
                    <a:pt x="144199" y="328341"/>
                  </a:lnTo>
                  <a:lnTo>
                    <a:pt x="171086" y="292793"/>
                  </a:lnTo>
                  <a:lnTo>
                    <a:pt x="199901" y="258879"/>
                  </a:lnTo>
                  <a:lnTo>
                    <a:pt x="230562" y="226678"/>
                  </a:lnTo>
                  <a:lnTo>
                    <a:pt x="262983" y="196270"/>
                  </a:lnTo>
                  <a:lnTo>
                    <a:pt x="297080" y="167734"/>
                  </a:lnTo>
                  <a:lnTo>
                    <a:pt x="332769" y="141149"/>
                  </a:lnTo>
                  <a:lnTo>
                    <a:pt x="369966" y="116594"/>
                  </a:lnTo>
                  <a:lnTo>
                    <a:pt x="408586" y="94148"/>
                  </a:lnTo>
                  <a:lnTo>
                    <a:pt x="448545" y="73890"/>
                  </a:lnTo>
                  <a:lnTo>
                    <a:pt x="489758" y="55900"/>
                  </a:lnTo>
                  <a:lnTo>
                    <a:pt x="532142" y="40256"/>
                  </a:lnTo>
                  <a:lnTo>
                    <a:pt x="575611" y="27037"/>
                  </a:lnTo>
                  <a:lnTo>
                    <a:pt x="620082" y="16323"/>
                  </a:lnTo>
                  <a:lnTo>
                    <a:pt x="665470" y="8193"/>
                  </a:lnTo>
                  <a:lnTo>
                    <a:pt x="711691" y="2725"/>
                  </a:lnTo>
                  <a:lnTo>
                    <a:pt x="758660" y="0"/>
                  </a:lnTo>
                  <a:lnTo>
                    <a:pt x="806294" y="95"/>
                  </a:lnTo>
                  <a:lnTo>
                    <a:pt x="853836" y="3042"/>
                  </a:lnTo>
                  <a:lnTo>
                    <a:pt x="900533" y="8761"/>
                  </a:lnTo>
                  <a:lnTo>
                    <a:pt x="946308" y="17169"/>
                  </a:lnTo>
                  <a:lnTo>
                    <a:pt x="991081" y="28181"/>
                  </a:lnTo>
                  <a:lnTo>
                    <a:pt x="1034772" y="41713"/>
                  </a:lnTo>
                  <a:lnTo>
                    <a:pt x="1077303" y="57681"/>
                  </a:lnTo>
                  <a:lnTo>
                    <a:pt x="1118595" y="75999"/>
                  </a:lnTo>
                  <a:lnTo>
                    <a:pt x="1158569" y="96585"/>
                  </a:lnTo>
                  <a:lnTo>
                    <a:pt x="1197144" y="119353"/>
                  </a:lnTo>
                  <a:lnTo>
                    <a:pt x="1234243" y="144219"/>
                  </a:lnTo>
                  <a:lnTo>
                    <a:pt x="1269787" y="171099"/>
                  </a:lnTo>
                  <a:lnTo>
                    <a:pt x="1303696" y="199909"/>
                  </a:lnTo>
                  <a:lnTo>
                    <a:pt x="1335890" y="230563"/>
                  </a:lnTo>
                  <a:lnTo>
                    <a:pt x="1366292" y="262979"/>
                  </a:lnTo>
                  <a:lnTo>
                    <a:pt x="1394822" y="297071"/>
                  </a:lnTo>
                  <a:lnTo>
                    <a:pt x="1421400" y="332756"/>
                  </a:lnTo>
                  <a:lnTo>
                    <a:pt x="1445949" y="369948"/>
                  </a:lnTo>
                  <a:lnTo>
                    <a:pt x="1468387" y="408564"/>
                  </a:lnTo>
                  <a:lnTo>
                    <a:pt x="1488638" y="448519"/>
                  </a:lnTo>
                  <a:lnTo>
                    <a:pt x="1506621" y="489729"/>
                  </a:lnTo>
                  <a:lnTo>
                    <a:pt x="1522258" y="532110"/>
                  </a:lnTo>
                  <a:lnTo>
                    <a:pt x="1535468" y="575577"/>
                  </a:lnTo>
                  <a:lnTo>
                    <a:pt x="1546174" y="620046"/>
                  </a:lnTo>
                  <a:lnTo>
                    <a:pt x="1554297" y="665433"/>
                  </a:lnTo>
                  <a:lnTo>
                    <a:pt x="1559756" y="711653"/>
                  </a:lnTo>
                  <a:lnTo>
                    <a:pt x="1562473" y="758622"/>
                  </a:lnTo>
                  <a:lnTo>
                    <a:pt x="1562369" y="806255"/>
                  </a:lnTo>
                  <a:lnTo>
                    <a:pt x="1559415" y="853798"/>
                  </a:lnTo>
                  <a:lnTo>
                    <a:pt x="1553688" y="900498"/>
                  </a:lnTo>
                  <a:lnTo>
                    <a:pt x="1545272" y="946275"/>
                  </a:lnTo>
                  <a:lnTo>
                    <a:pt x="1534253" y="991050"/>
                  </a:lnTo>
                  <a:lnTo>
                    <a:pt x="1520713" y="1034745"/>
                  </a:lnTo>
                  <a:lnTo>
                    <a:pt x="1504739" y="1077279"/>
                  </a:lnTo>
                  <a:lnTo>
                    <a:pt x="1486413" y="1118575"/>
                  </a:lnTo>
                  <a:lnTo>
                    <a:pt x="1465821" y="1158552"/>
                  </a:lnTo>
                  <a:lnTo>
                    <a:pt x="1443046" y="1197132"/>
                  </a:lnTo>
                  <a:lnTo>
                    <a:pt x="1418174" y="1234236"/>
                  </a:lnTo>
                  <a:lnTo>
                    <a:pt x="1391287" y="1269784"/>
                  </a:lnTo>
                  <a:lnTo>
                    <a:pt x="1362472" y="1303698"/>
                  </a:lnTo>
                  <a:lnTo>
                    <a:pt x="1331812" y="1335898"/>
                  </a:lnTo>
                  <a:lnTo>
                    <a:pt x="1299391" y="1366306"/>
                  </a:lnTo>
                  <a:lnTo>
                    <a:pt x="1265294" y="1394842"/>
                  </a:lnTo>
                  <a:lnTo>
                    <a:pt x="1229604" y="1421427"/>
                  </a:lnTo>
                  <a:lnTo>
                    <a:pt x="1192408" y="1445982"/>
                  </a:lnTo>
                  <a:lnTo>
                    <a:pt x="1153788" y="1468428"/>
                  </a:lnTo>
                  <a:lnTo>
                    <a:pt x="1113829" y="1488685"/>
                  </a:lnTo>
                  <a:lnTo>
                    <a:pt x="1072616" y="1506676"/>
                  </a:lnTo>
                  <a:lnTo>
                    <a:pt x="1030233" y="1522320"/>
                  </a:lnTo>
                  <a:lnTo>
                    <a:pt x="986764" y="1535538"/>
                  </a:lnTo>
                  <a:lnTo>
                    <a:pt x="942293" y="1546252"/>
                  </a:lnTo>
                  <a:lnTo>
                    <a:pt x="896906" y="1554383"/>
                  </a:lnTo>
                  <a:lnTo>
                    <a:pt x="850685" y="1559850"/>
                  </a:lnTo>
                  <a:lnTo>
                    <a:pt x="803716" y="1562576"/>
                  </a:lnTo>
                  <a:lnTo>
                    <a:pt x="756083" y="1562481"/>
                  </a:lnTo>
                  <a:lnTo>
                    <a:pt x="704847" y="1559155"/>
                  </a:lnTo>
                  <a:lnTo>
                    <a:pt x="654103" y="1552500"/>
                  </a:lnTo>
                  <a:lnTo>
                    <a:pt x="604008" y="1542563"/>
                  </a:lnTo>
                  <a:lnTo>
                    <a:pt x="554721" y="1529391"/>
                  </a:lnTo>
                  <a:lnTo>
                    <a:pt x="506399" y="1513032"/>
                  </a:lnTo>
                  <a:lnTo>
                    <a:pt x="459199" y="1493532"/>
                  </a:lnTo>
                  <a:lnTo>
                    <a:pt x="413279" y="1470940"/>
                  </a:lnTo>
                  <a:lnTo>
                    <a:pt x="368796" y="1445303"/>
                  </a:lnTo>
                  <a:lnTo>
                    <a:pt x="277271" y="1526640"/>
                  </a:lnTo>
                  <a:lnTo>
                    <a:pt x="271495" y="1234218"/>
                  </a:lnTo>
                  <a:lnTo>
                    <a:pt x="616997" y="1224750"/>
                  </a:lnTo>
                  <a:lnTo>
                    <a:pt x="526879" y="1304834"/>
                  </a:lnTo>
                  <a:lnTo>
                    <a:pt x="570655" y="1323945"/>
                  </a:lnTo>
                  <a:lnTo>
                    <a:pt x="615118" y="1339210"/>
                  </a:lnTo>
                  <a:lnTo>
                    <a:pt x="660067" y="1350700"/>
                  </a:lnTo>
                  <a:lnTo>
                    <a:pt x="705302" y="1358484"/>
                  </a:lnTo>
                  <a:lnTo>
                    <a:pt x="750624" y="1362630"/>
                  </a:lnTo>
                  <a:lnTo>
                    <a:pt x="795832" y="1363208"/>
                  </a:lnTo>
                  <a:lnTo>
                    <a:pt x="840726" y="1360287"/>
                  </a:lnTo>
                  <a:lnTo>
                    <a:pt x="885105" y="1353938"/>
                  </a:lnTo>
                  <a:lnTo>
                    <a:pt x="928769" y="1344228"/>
                  </a:lnTo>
                  <a:lnTo>
                    <a:pt x="971519" y="1331227"/>
                  </a:lnTo>
                  <a:lnTo>
                    <a:pt x="1013154" y="1315005"/>
                  </a:lnTo>
                  <a:lnTo>
                    <a:pt x="1053474" y="1295630"/>
                  </a:lnTo>
                  <a:lnTo>
                    <a:pt x="1092278" y="1273173"/>
                  </a:lnTo>
                  <a:lnTo>
                    <a:pt x="1129367" y="1247703"/>
                  </a:lnTo>
                  <a:lnTo>
                    <a:pt x="1164540" y="1219288"/>
                  </a:lnTo>
                  <a:lnTo>
                    <a:pt x="1197597" y="1187998"/>
                  </a:lnTo>
                  <a:lnTo>
                    <a:pt x="1228339" y="1153903"/>
                  </a:lnTo>
                  <a:lnTo>
                    <a:pt x="1256563" y="1117072"/>
                  </a:lnTo>
                  <a:lnTo>
                    <a:pt x="1282072" y="1077573"/>
                  </a:lnTo>
                  <a:lnTo>
                    <a:pt x="1304664" y="1035477"/>
                  </a:lnTo>
                  <a:lnTo>
                    <a:pt x="1323786" y="991696"/>
                  </a:lnTo>
                  <a:lnTo>
                    <a:pt x="1339063" y="947230"/>
                  </a:lnTo>
                  <a:lnTo>
                    <a:pt x="1350565" y="902278"/>
                  </a:lnTo>
                  <a:lnTo>
                    <a:pt x="1358359" y="857040"/>
                  </a:lnTo>
                  <a:lnTo>
                    <a:pt x="1362517" y="811717"/>
                  </a:lnTo>
                  <a:lnTo>
                    <a:pt x="1363106" y="766509"/>
                  </a:lnTo>
                  <a:lnTo>
                    <a:pt x="1360196" y="721617"/>
                  </a:lnTo>
                  <a:lnTo>
                    <a:pt x="1353857" y="677239"/>
                  </a:lnTo>
                  <a:lnTo>
                    <a:pt x="1344158" y="633577"/>
                  </a:lnTo>
                  <a:lnTo>
                    <a:pt x="1331167" y="590830"/>
                  </a:lnTo>
                  <a:lnTo>
                    <a:pt x="1314955" y="549199"/>
                  </a:lnTo>
                  <a:lnTo>
                    <a:pt x="1295590" y="508884"/>
                  </a:lnTo>
                  <a:lnTo>
                    <a:pt x="1273142" y="470084"/>
                  </a:lnTo>
                  <a:lnTo>
                    <a:pt x="1247680" y="433001"/>
                  </a:lnTo>
                  <a:lnTo>
                    <a:pt x="1219274" y="397834"/>
                  </a:lnTo>
                  <a:lnTo>
                    <a:pt x="1187992" y="364783"/>
                  </a:lnTo>
                  <a:lnTo>
                    <a:pt x="1153903" y="334049"/>
                  </a:lnTo>
                  <a:lnTo>
                    <a:pt x="1117078" y="305832"/>
                  </a:lnTo>
                  <a:lnTo>
                    <a:pt x="1077586" y="280332"/>
                  </a:lnTo>
                  <a:lnTo>
                    <a:pt x="1035495" y="257748"/>
                  </a:lnTo>
                  <a:lnTo>
                    <a:pt x="991719" y="238637"/>
                  </a:lnTo>
                  <a:lnTo>
                    <a:pt x="947256" y="223370"/>
                  </a:lnTo>
                  <a:lnTo>
                    <a:pt x="902306" y="211880"/>
                  </a:lnTo>
                  <a:lnTo>
                    <a:pt x="857071" y="204096"/>
                  </a:lnTo>
                  <a:lnTo>
                    <a:pt x="811749" y="199950"/>
                  </a:lnTo>
                  <a:lnTo>
                    <a:pt x="766541" y="199372"/>
                  </a:lnTo>
                  <a:lnTo>
                    <a:pt x="721648" y="202292"/>
                  </a:lnTo>
                  <a:lnTo>
                    <a:pt x="677269" y="208642"/>
                  </a:lnTo>
                  <a:lnTo>
                    <a:pt x="633605" y="218352"/>
                  </a:lnTo>
                  <a:lnTo>
                    <a:pt x="590855" y="231353"/>
                  </a:lnTo>
                  <a:lnTo>
                    <a:pt x="549220" y="247575"/>
                  </a:lnTo>
                  <a:lnTo>
                    <a:pt x="508901" y="266950"/>
                  </a:lnTo>
                  <a:lnTo>
                    <a:pt x="470096" y="289407"/>
                  </a:lnTo>
                  <a:lnTo>
                    <a:pt x="433007" y="314878"/>
                  </a:lnTo>
                  <a:lnTo>
                    <a:pt x="397834" y="343293"/>
                  </a:lnTo>
                  <a:lnTo>
                    <a:pt x="364776" y="374582"/>
                  </a:lnTo>
                  <a:lnTo>
                    <a:pt x="334035" y="408678"/>
                  </a:lnTo>
                  <a:lnTo>
                    <a:pt x="305809" y="445509"/>
                  </a:lnTo>
                  <a:lnTo>
                    <a:pt x="280300" y="485008"/>
                  </a:lnTo>
                  <a:lnTo>
                    <a:pt x="257707" y="527104"/>
                  </a:lnTo>
                  <a:lnTo>
                    <a:pt x="238183" y="572010"/>
                  </a:lnTo>
                  <a:lnTo>
                    <a:pt x="222539" y="618274"/>
                  </a:lnTo>
                  <a:lnTo>
                    <a:pt x="210837" y="665644"/>
                  </a:lnTo>
                  <a:lnTo>
                    <a:pt x="203139" y="713868"/>
                  </a:lnTo>
                  <a:lnTo>
                    <a:pt x="199509" y="762694"/>
                  </a:lnTo>
                  <a:lnTo>
                    <a:pt x="0" y="756319"/>
                  </a:lnTo>
                  <a:close/>
                </a:path>
              </a:pathLst>
            </a:custGeom>
            <a:ln w="5714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330750" y="3870921"/>
              <a:ext cx="1563179" cy="156314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330746" y="3870920"/>
              <a:ext cx="1563370" cy="1563370"/>
            </a:xfrm>
            <a:custGeom>
              <a:avLst/>
              <a:gdLst/>
              <a:ahLst/>
              <a:cxnLst/>
              <a:rect l="l" t="t" r="r" b="b"/>
              <a:pathLst>
                <a:path w="1563370" h="1563370">
                  <a:moveTo>
                    <a:pt x="0" y="785175"/>
                  </a:moveTo>
                  <a:lnTo>
                    <a:pt x="1653" y="832779"/>
                  </a:lnTo>
                  <a:lnTo>
                    <a:pt x="6102" y="879616"/>
                  </a:lnTo>
                  <a:lnTo>
                    <a:pt x="13263" y="925605"/>
                  </a:lnTo>
                  <a:lnTo>
                    <a:pt x="23055" y="970663"/>
                  </a:lnTo>
                  <a:lnTo>
                    <a:pt x="35395" y="1014710"/>
                  </a:lnTo>
                  <a:lnTo>
                    <a:pt x="50201" y="1057664"/>
                  </a:lnTo>
                  <a:lnTo>
                    <a:pt x="67391" y="1099444"/>
                  </a:lnTo>
                  <a:lnTo>
                    <a:pt x="86883" y="1139969"/>
                  </a:lnTo>
                  <a:lnTo>
                    <a:pt x="108595" y="1179156"/>
                  </a:lnTo>
                  <a:lnTo>
                    <a:pt x="132444" y="1216926"/>
                  </a:lnTo>
                  <a:lnTo>
                    <a:pt x="158349" y="1253195"/>
                  </a:lnTo>
                  <a:lnTo>
                    <a:pt x="186227" y="1287884"/>
                  </a:lnTo>
                  <a:lnTo>
                    <a:pt x="215996" y="1320910"/>
                  </a:lnTo>
                  <a:lnTo>
                    <a:pt x="247574" y="1352192"/>
                  </a:lnTo>
                  <a:lnTo>
                    <a:pt x="280879" y="1381649"/>
                  </a:lnTo>
                  <a:lnTo>
                    <a:pt x="315828" y="1409200"/>
                  </a:lnTo>
                  <a:lnTo>
                    <a:pt x="352341" y="1434762"/>
                  </a:lnTo>
                  <a:lnTo>
                    <a:pt x="390333" y="1458255"/>
                  </a:lnTo>
                  <a:lnTo>
                    <a:pt x="429724" y="1479598"/>
                  </a:lnTo>
                  <a:lnTo>
                    <a:pt x="470431" y="1498708"/>
                  </a:lnTo>
                  <a:lnTo>
                    <a:pt x="512371" y="1515505"/>
                  </a:lnTo>
                  <a:lnTo>
                    <a:pt x="555464" y="1529907"/>
                  </a:lnTo>
                  <a:lnTo>
                    <a:pt x="599626" y="1541833"/>
                  </a:lnTo>
                  <a:lnTo>
                    <a:pt x="644776" y="1551201"/>
                  </a:lnTo>
                  <a:lnTo>
                    <a:pt x="690830" y="1557930"/>
                  </a:lnTo>
                  <a:lnTo>
                    <a:pt x="737709" y="1561939"/>
                  </a:lnTo>
                  <a:lnTo>
                    <a:pt x="785328" y="1563146"/>
                  </a:lnTo>
                  <a:lnTo>
                    <a:pt x="832933" y="1561500"/>
                  </a:lnTo>
                  <a:lnTo>
                    <a:pt x="879771" y="1557060"/>
                  </a:lnTo>
                  <a:lnTo>
                    <a:pt x="925759" y="1549907"/>
                  </a:lnTo>
                  <a:lnTo>
                    <a:pt x="970817" y="1540123"/>
                  </a:lnTo>
                  <a:lnTo>
                    <a:pt x="1014863" y="1527791"/>
                  </a:lnTo>
                  <a:lnTo>
                    <a:pt x="1057816" y="1512993"/>
                  </a:lnTo>
                  <a:lnTo>
                    <a:pt x="1099594" y="1495811"/>
                  </a:lnTo>
                  <a:lnTo>
                    <a:pt x="1140116" y="1476327"/>
                  </a:lnTo>
                  <a:lnTo>
                    <a:pt x="1179301" y="1454622"/>
                  </a:lnTo>
                  <a:lnTo>
                    <a:pt x="1217067" y="1430780"/>
                  </a:lnTo>
                  <a:lnTo>
                    <a:pt x="1253333" y="1404883"/>
                  </a:lnTo>
                  <a:lnTo>
                    <a:pt x="1288017" y="1377012"/>
                  </a:lnTo>
                  <a:lnTo>
                    <a:pt x="1321039" y="1347250"/>
                  </a:lnTo>
                  <a:lnTo>
                    <a:pt x="1352316" y="1315678"/>
                  </a:lnTo>
                  <a:lnTo>
                    <a:pt x="1381768" y="1282379"/>
                  </a:lnTo>
                  <a:lnTo>
                    <a:pt x="1409313" y="1247435"/>
                  </a:lnTo>
                  <a:lnTo>
                    <a:pt x="1434870" y="1210929"/>
                  </a:lnTo>
                  <a:lnTo>
                    <a:pt x="1458357" y="1172941"/>
                  </a:lnTo>
                  <a:lnTo>
                    <a:pt x="1479693" y="1133555"/>
                  </a:lnTo>
                  <a:lnTo>
                    <a:pt x="1498797" y="1092853"/>
                  </a:lnTo>
                  <a:lnTo>
                    <a:pt x="1515587" y="1050916"/>
                  </a:lnTo>
                  <a:lnTo>
                    <a:pt x="1529982" y="1007827"/>
                  </a:lnTo>
                  <a:lnTo>
                    <a:pt x="1541901" y="963668"/>
                  </a:lnTo>
                  <a:lnTo>
                    <a:pt x="1551261" y="918521"/>
                  </a:lnTo>
                  <a:lnTo>
                    <a:pt x="1557983" y="872468"/>
                  </a:lnTo>
                  <a:lnTo>
                    <a:pt x="1561984" y="825591"/>
                  </a:lnTo>
                  <a:lnTo>
                    <a:pt x="1563183" y="777973"/>
                  </a:lnTo>
                  <a:lnTo>
                    <a:pt x="1561529" y="730369"/>
                  </a:lnTo>
                  <a:lnTo>
                    <a:pt x="1557080" y="683532"/>
                  </a:lnTo>
                  <a:lnTo>
                    <a:pt x="1549918" y="637543"/>
                  </a:lnTo>
                  <a:lnTo>
                    <a:pt x="1540126" y="592485"/>
                  </a:lnTo>
                  <a:lnTo>
                    <a:pt x="1527786" y="548438"/>
                  </a:lnTo>
                  <a:lnTo>
                    <a:pt x="1512980" y="505484"/>
                  </a:lnTo>
                  <a:lnTo>
                    <a:pt x="1495789" y="463704"/>
                  </a:lnTo>
                  <a:lnTo>
                    <a:pt x="1476297" y="423179"/>
                  </a:lnTo>
                  <a:lnTo>
                    <a:pt x="1454585" y="383992"/>
                  </a:lnTo>
                  <a:lnTo>
                    <a:pt x="1430735" y="346222"/>
                  </a:lnTo>
                  <a:lnTo>
                    <a:pt x="1404831" y="309953"/>
                  </a:lnTo>
                  <a:lnTo>
                    <a:pt x="1376952" y="275264"/>
                  </a:lnTo>
                  <a:lnTo>
                    <a:pt x="1347183" y="242238"/>
                  </a:lnTo>
                  <a:lnTo>
                    <a:pt x="1315605" y="210956"/>
                  </a:lnTo>
                  <a:lnTo>
                    <a:pt x="1282300" y="181499"/>
                  </a:lnTo>
                  <a:lnTo>
                    <a:pt x="1247351" y="153948"/>
                  </a:lnTo>
                  <a:lnTo>
                    <a:pt x="1210839" y="128385"/>
                  </a:lnTo>
                  <a:lnTo>
                    <a:pt x="1172846" y="104892"/>
                  </a:lnTo>
                  <a:lnTo>
                    <a:pt x="1133456" y="83549"/>
                  </a:lnTo>
                  <a:lnTo>
                    <a:pt x="1092749" y="64439"/>
                  </a:lnTo>
                  <a:lnTo>
                    <a:pt x="1050808" y="47642"/>
                  </a:lnTo>
                  <a:lnTo>
                    <a:pt x="1007716" y="33240"/>
                  </a:lnTo>
                  <a:lnTo>
                    <a:pt x="963554" y="21314"/>
                  </a:lnTo>
                  <a:lnTo>
                    <a:pt x="918405" y="11945"/>
                  </a:lnTo>
                  <a:lnTo>
                    <a:pt x="872350" y="5216"/>
                  </a:lnTo>
                  <a:lnTo>
                    <a:pt x="825472" y="1207"/>
                  </a:lnTo>
                  <a:lnTo>
                    <a:pt x="777853" y="0"/>
                  </a:lnTo>
                  <a:lnTo>
                    <a:pt x="727812" y="1834"/>
                  </a:lnTo>
                  <a:lnTo>
                    <a:pt x="678194" y="6842"/>
                  </a:lnTo>
                  <a:lnTo>
                    <a:pt x="629144" y="14976"/>
                  </a:lnTo>
                  <a:lnTo>
                    <a:pt x="580805" y="26187"/>
                  </a:lnTo>
                  <a:lnTo>
                    <a:pt x="533321" y="40427"/>
                  </a:lnTo>
                  <a:lnTo>
                    <a:pt x="486836" y="57649"/>
                  </a:lnTo>
                  <a:lnTo>
                    <a:pt x="441492" y="77804"/>
                  </a:lnTo>
                  <a:lnTo>
                    <a:pt x="397435" y="100844"/>
                  </a:lnTo>
                  <a:lnTo>
                    <a:pt x="354808" y="126722"/>
                  </a:lnTo>
                  <a:lnTo>
                    <a:pt x="313753" y="155389"/>
                  </a:lnTo>
                  <a:lnTo>
                    <a:pt x="215588" y="82204"/>
                  </a:lnTo>
                  <a:lnTo>
                    <a:pt x="234920" y="374045"/>
                  </a:lnTo>
                  <a:lnTo>
                    <a:pt x="579953" y="353828"/>
                  </a:lnTo>
                  <a:lnTo>
                    <a:pt x="483304" y="281778"/>
                  </a:lnTo>
                  <a:lnTo>
                    <a:pt x="525280" y="258982"/>
                  </a:lnTo>
                  <a:lnTo>
                    <a:pt x="568269" y="239958"/>
                  </a:lnTo>
                  <a:lnTo>
                    <a:pt x="612066" y="224654"/>
                  </a:lnTo>
                  <a:lnTo>
                    <a:pt x="656467" y="213019"/>
                  </a:lnTo>
                  <a:lnTo>
                    <a:pt x="701266" y="205000"/>
                  </a:lnTo>
                  <a:lnTo>
                    <a:pt x="746257" y="200546"/>
                  </a:lnTo>
                  <a:lnTo>
                    <a:pt x="791235" y="199605"/>
                  </a:lnTo>
                  <a:lnTo>
                    <a:pt x="835995" y="202124"/>
                  </a:lnTo>
                  <a:lnTo>
                    <a:pt x="880332" y="208053"/>
                  </a:lnTo>
                  <a:lnTo>
                    <a:pt x="924039" y="217338"/>
                  </a:lnTo>
                  <a:lnTo>
                    <a:pt x="966912" y="229929"/>
                  </a:lnTo>
                  <a:lnTo>
                    <a:pt x="1008745" y="245773"/>
                  </a:lnTo>
                  <a:lnTo>
                    <a:pt x="1049333" y="264818"/>
                  </a:lnTo>
                  <a:lnTo>
                    <a:pt x="1088471" y="287013"/>
                  </a:lnTo>
                  <a:lnTo>
                    <a:pt x="1125952" y="312305"/>
                  </a:lnTo>
                  <a:lnTo>
                    <a:pt x="1161573" y="340644"/>
                  </a:lnTo>
                  <a:lnTo>
                    <a:pt x="1195126" y="371976"/>
                  </a:lnTo>
                  <a:lnTo>
                    <a:pt x="1226408" y="406249"/>
                  </a:lnTo>
                  <a:lnTo>
                    <a:pt x="1255212" y="443413"/>
                  </a:lnTo>
                  <a:lnTo>
                    <a:pt x="1281333" y="483415"/>
                  </a:lnTo>
                  <a:lnTo>
                    <a:pt x="1304141" y="525394"/>
                  </a:lnTo>
                  <a:lnTo>
                    <a:pt x="1323177" y="568386"/>
                  </a:lnTo>
                  <a:lnTo>
                    <a:pt x="1338492" y="612186"/>
                  </a:lnTo>
                  <a:lnTo>
                    <a:pt x="1350139" y="656588"/>
                  </a:lnTo>
                  <a:lnTo>
                    <a:pt x="1358169" y="701388"/>
                  </a:lnTo>
                  <a:lnTo>
                    <a:pt x="1362634" y="746379"/>
                  </a:lnTo>
                  <a:lnTo>
                    <a:pt x="1363586" y="791356"/>
                  </a:lnTo>
                  <a:lnTo>
                    <a:pt x="1361078" y="836114"/>
                  </a:lnTo>
                  <a:lnTo>
                    <a:pt x="1355159" y="880448"/>
                  </a:lnTo>
                  <a:lnTo>
                    <a:pt x="1345884" y="924152"/>
                  </a:lnTo>
                  <a:lnTo>
                    <a:pt x="1333303" y="967021"/>
                  </a:lnTo>
                  <a:lnTo>
                    <a:pt x="1317468" y="1008850"/>
                  </a:lnTo>
                  <a:lnTo>
                    <a:pt x="1298431" y="1049432"/>
                  </a:lnTo>
                  <a:lnTo>
                    <a:pt x="1276245" y="1088563"/>
                  </a:lnTo>
                  <a:lnTo>
                    <a:pt x="1250960" y="1126037"/>
                  </a:lnTo>
                  <a:lnTo>
                    <a:pt x="1222629" y="1161650"/>
                  </a:lnTo>
                  <a:lnTo>
                    <a:pt x="1191303" y="1195195"/>
                  </a:lnTo>
                  <a:lnTo>
                    <a:pt x="1157035" y="1226467"/>
                  </a:lnTo>
                  <a:lnTo>
                    <a:pt x="1119877" y="1255260"/>
                  </a:lnTo>
                  <a:lnTo>
                    <a:pt x="1079879" y="1281371"/>
                  </a:lnTo>
                  <a:lnTo>
                    <a:pt x="1037903" y="1304168"/>
                  </a:lnTo>
                  <a:lnTo>
                    <a:pt x="994914" y="1323192"/>
                  </a:lnTo>
                  <a:lnTo>
                    <a:pt x="951116" y="1338497"/>
                  </a:lnTo>
                  <a:lnTo>
                    <a:pt x="906715" y="1350133"/>
                  </a:lnTo>
                  <a:lnTo>
                    <a:pt x="861916" y="1358152"/>
                  </a:lnTo>
                  <a:lnTo>
                    <a:pt x="816924" y="1362606"/>
                  </a:lnTo>
                  <a:lnTo>
                    <a:pt x="771946" y="1363548"/>
                  </a:lnTo>
                  <a:lnTo>
                    <a:pt x="727185" y="1361029"/>
                  </a:lnTo>
                  <a:lnTo>
                    <a:pt x="682849" y="1355101"/>
                  </a:lnTo>
                  <a:lnTo>
                    <a:pt x="639141" y="1345815"/>
                  </a:lnTo>
                  <a:lnTo>
                    <a:pt x="596268" y="1333225"/>
                  </a:lnTo>
                  <a:lnTo>
                    <a:pt x="554435" y="1317381"/>
                  </a:lnTo>
                  <a:lnTo>
                    <a:pt x="513847" y="1298335"/>
                  </a:lnTo>
                  <a:lnTo>
                    <a:pt x="474709" y="1276140"/>
                  </a:lnTo>
                  <a:lnTo>
                    <a:pt x="437228" y="1250848"/>
                  </a:lnTo>
                  <a:lnTo>
                    <a:pt x="401607" y="1222509"/>
                  </a:lnTo>
                  <a:lnTo>
                    <a:pt x="368054" y="1191177"/>
                  </a:lnTo>
                  <a:lnTo>
                    <a:pt x="336773" y="1156902"/>
                  </a:lnTo>
                  <a:lnTo>
                    <a:pt x="307969" y="1119738"/>
                  </a:lnTo>
                  <a:lnTo>
                    <a:pt x="281848" y="1079735"/>
                  </a:lnTo>
                  <a:lnTo>
                    <a:pt x="257270" y="1034043"/>
                  </a:lnTo>
                  <a:lnTo>
                    <a:pt x="236931" y="986535"/>
                  </a:lnTo>
                  <a:lnTo>
                    <a:pt x="220912" y="937507"/>
                  </a:lnTo>
                  <a:lnTo>
                    <a:pt x="209296" y="887253"/>
                  </a:lnTo>
                  <a:lnTo>
                    <a:pt x="202165" y="836072"/>
                  </a:lnTo>
                  <a:lnTo>
                    <a:pt x="199603" y="784256"/>
                  </a:lnTo>
                  <a:lnTo>
                    <a:pt x="0" y="785175"/>
                  </a:lnTo>
                  <a:close/>
                </a:path>
              </a:pathLst>
            </a:custGeom>
            <a:ln w="571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4505655" y="5584952"/>
            <a:ext cx="1519555" cy="695960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69850" marR="5080" indent="-57150">
              <a:lnSpc>
                <a:spcPts val="980"/>
              </a:lnSpc>
              <a:spcBef>
                <a:spcPts val="215"/>
              </a:spcBef>
              <a:buSzPct val="88888"/>
              <a:buChar char="•"/>
              <a:tabLst>
                <a:tab pos="70485" algn="l"/>
              </a:tabLst>
            </a:pPr>
            <a:r>
              <a:rPr sz="900" spc="-35">
                <a:latin typeface="Trebuchet MS"/>
                <a:cs typeface="Trebuchet MS"/>
              </a:rPr>
              <a:t>Deployment and </a:t>
            </a:r>
            <a:r>
              <a:rPr sz="900" spc="-40">
                <a:latin typeface="Trebuchet MS"/>
                <a:cs typeface="Trebuchet MS"/>
              </a:rPr>
              <a:t>integration</a:t>
            </a:r>
            <a:r>
              <a:rPr sz="900" spc="-18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of  </a:t>
            </a:r>
            <a:r>
              <a:rPr sz="900" spc="-30">
                <a:latin typeface="Trebuchet MS"/>
                <a:cs typeface="Trebuchet MS"/>
              </a:rPr>
              <a:t>models</a:t>
            </a:r>
            <a:r>
              <a:rPr sz="900" spc="-80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(APIs)</a:t>
            </a:r>
            <a:endParaRPr sz="900">
              <a:latin typeface="Trebuchet MS"/>
              <a:cs typeface="Trebuchet MS"/>
            </a:endParaRPr>
          </a:p>
          <a:p>
            <a:pPr marL="69850" marR="266700" indent="-57150">
              <a:lnSpc>
                <a:spcPts val="1010"/>
              </a:lnSpc>
              <a:spcBef>
                <a:spcPts val="105"/>
              </a:spcBef>
              <a:buSzPct val="88888"/>
              <a:buChar char="•"/>
              <a:tabLst>
                <a:tab pos="70485" algn="l"/>
              </a:tabLst>
            </a:pPr>
            <a:r>
              <a:rPr sz="900" spc="-15">
                <a:latin typeface="Trebuchet MS"/>
                <a:cs typeface="Trebuchet MS"/>
              </a:rPr>
              <a:t>Monitoring </a:t>
            </a:r>
            <a:r>
              <a:rPr sz="900" spc="-55">
                <a:latin typeface="Trebuchet MS"/>
                <a:cs typeface="Trebuchet MS"/>
              </a:rPr>
              <a:t>accuracy </a:t>
            </a:r>
            <a:r>
              <a:rPr sz="900" spc="-35">
                <a:latin typeface="Trebuchet MS"/>
                <a:cs typeface="Trebuchet MS"/>
              </a:rPr>
              <a:t>and  measuring </a:t>
            </a:r>
            <a:r>
              <a:rPr sz="900" spc="-40">
                <a:latin typeface="Trebuchet MS"/>
                <a:cs typeface="Trebuchet MS"/>
              </a:rPr>
              <a:t>value</a:t>
            </a:r>
            <a:r>
              <a:rPr sz="900" spc="-155">
                <a:latin typeface="Trebuchet MS"/>
                <a:cs typeface="Trebuchet MS"/>
              </a:rPr>
              <a:t> </a:t>
            </a:r>
            <a:r>
              <a:rPr sz="900" spc="-45">
                <a:latin typeface="Trebuchet MS"/>
                <a:cs typeface="Trebuchet MS"/>
              </a:rPr>
              <a:t>creation</a:t>
            </a:r>
            <a:endParaRPr sz="900">
              <a:latin typeface="Trebuchet MS"/>
              <a:cs typeface="Trebuchet MS"/>
            </a:endParaRPr>
          </a:p>
          <a:p>
            <a:pPr marL="69850" indent="-57785">
              <a:lnSpc>
                <a:spcPct val="100000"/>
              </a:lnSpc>
              <a:buSzPct val="88888"/>
              <a:buChar char="•"/>
              <a:tabLst>
                <a:tab pos="70485" algn="l"/>
              </a:tabLst>
            </a:pPr>
            <a:r>
              <a:rPr sz="900" spc="-35">
                <a:latin typeface="Trebuchet MS"/>
                <a:cs typeface="Trebuchet MS"/>
              </a:rPr>
              <a:t>Automation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56550" y="2346960"/>
            <a:ext cx="2130425" cy="1178560"/>
          </a:xfrm>
          <a:prstGeom prst="rect">
            <a:avLst/>
          </a:prstGeom>
          <a:ln w="6350">
            <a:solidFill>
              <a:srgbClr val="6C03A8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"/>
              </a:spcBef>
            </a:pPr>
            <a:endParaRPr sz="2050">
              <a:latin typeface="Times New Roman"/>
              <a:cs typeface="Times New Roman"/>
            </a:endParaRPr>
          </a:p>
          <a:p>
            <a:pPr marL="167640" marR="159385" algn="ctr">
              <a:lnSpc>
                <a:spcPct val="100800"/>
              </a:lnSpc>
            </a:pPr>
            <a:r>
              <a:rPr sz="1200" b="1" spc="-75">
                <a:latin typeface="Trebuchet MS"/>
                <a:cs typeface="Trebuchet MS"/>
              </a:rPr>
              <a:t>Version </a:t>
            </a:r>
            <a:r>
              <a:rPr sz="1200" b="1" spc="-70">
                <a:latin typeface="Trebuchet MS"/>
                <a:cs typeface="Trebuchet MS"/>
              </a:rPr>
              <a:t>control </a:t>
            </a:r>
            <a:r>
              <a:rPr sz="1200" spc="-45">
                <a:latin typeface="Trebuchet MS"/>
                <a:cs typeface="Trebuchet MS"/>
              </a:rPr>
              <a:t>of  </a:t>
            </a:r>
            <a:r>
              <a:rPr sz="1200" spc="-65">
                <a:latin typeface="Trebuchet MS"/>
                <a:cs typeface="Trebuchet MS"/>
              </a:rPr>
              <a:t>code/workflows, </a:t>
            </a:r>
            <a:r>
              <a:rPr sz="1200" spc="-45">
                <a:latin typeface="Trebuchet MS"/>
                <a:cs typeface="Trebuchet MS"/>
              </a:rPr>
              <a:t>models</a:t>
            </a:r>
            <a:r>
              <a:rPr sz="1200" spc="-14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70">
                <a:latin typeface="Trebuchet MS"/>
                <a:cs typeface="Trebuchet MS"/>
              </a:rPr>
              <a:t>data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set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874617" y="2346960"/>
            <a:ext cx="2130425" cy="1178560"/>
          </a:xfrm>
          <a:prstGeom prst="rect">
            <a:avLst/>
          </a:prstGeom>
          <a:ln w="6350">
            <a:solidFill>
              <a:srgbClr val="6C03A8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000">
              <a:latin typeface="Times New Roman"/>
              <a:cs typeface="Times New Roman"/>
            </a:endParaRPr>
          </a:p>
          <a:p>
            <a:pPr marL="330835" marR="212725" indent="-110489">
              <a:lnSpc>
                <a:spcPct val="105000"/>
              </a:lnSpc>
              <a:spcBef>
                <a:spcPts val="5"/>
              </a:spcBef>
            </a:pPr>
            <a:r>
              <a:rPr sz="1200" b="1" spc="-55">
                <a:latin typeface="Trebuchet MS"/>
                <a:cs typeface="Trebuchet MS"/>
              </a:rPr>
              <a:t>Automation </a:t>
            </a:r>
            <a:r>
              <a:rPr sz="1200" spc="-45">
                <a:latin typeface="Trebuchet MS"/>
                <a:cs typeface="Trebuchet MS"/>
              </a:rPr>
              <a:t>of</a:t>
            </a:r>
            <a:r>
              <a:rPr sz="1200" spc="-204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verification,  </a:t>
            </a:r>
            <a:r>
              <a:rPr sz="1200" spc="-60">
                <a:latin typeface="Trebuchet MS"/>
                <a:cs typeface="Trebuchet MS"/>
              </a:rPr>
              <a:t>testing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14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deployment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623887" y="2346960"/>
            <a:ext cx="833119" cy="1774189"/>
            <a:chOff x="623887" y="2346960"/>
            <a:chExt cx="833119" cy="1774189"/>
          </a:xfrm>
        </p:grpSpPr>
        <p:sp>
          <p:nvSpPr>
            <p:cNvPr id="22" name="object 22"/>
            <p:cNvSpPr/>
            <p:nvPr/>
          </p:nvSpPr>
          <p:spPr>
            <a:xfrm>
              <a:off x="623887" y="2489441"/>
              <a:ext cx="833119" cy="1631950"/>
            </a:xfrm>
            <a:custGeom>
              <a:avLst/>
              <a:gdLst/>
              <a:ahLst/>
              <a:cxnLst/>
              <a:rect l="l" t="t" r="r" b="b"/>
              <a:pathLst>
                <a:path w="833119" h="1631950">
                  <a:moveTo>
                    <a:pt x="832624" y="0"/>
                  </a:moveTo>
                  <a:lnTo>
                    <a:pt x="0" y="0"/>
                  </a:lnTo>
                  <a:lnTo>
                    <a:pt x="0" y="1472476"/>
                  </a:lnTo>
                  <a:lnTo>
                    <a:pt x="416308" y="1631530"/>
                  </a:lnTo>
                  <a:lnTo>
                    <a:pt x="832624" y="1472476"/>
                  </a:lnTo>
                  <a:lnTo>
                    <a:pt x="8326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23887" y="2346960"/>
              <a:ext cx="833119" cy="1631950"/>
            </a:xfrm>
            <a:custGeom>
              <a:avLst/>
              <a:gdLst/>
              <a:ahLst/>
              <a:cxnLst/>
              <a:rect l="l" t="t" r="r" b="b"/>
              <a:pathLst>
                <a:path w="833119" h="1631950">
                  <a:moveTo>
                    <a:pt x="832612" y="0"/>
                  </a:moveTo>
                  <a:lnTo>
                    <a:pt x="0" y="0"/>
                  </a:lnTo>
                  <a:lnTo>
                    <a:pt x="0" y="1472476"/>
                  </a:lnTo>
                  <a:lnTo>
                    <a:pt x="416308" y="1631530"/>
                  </a:lnTo>
                  <a:lnTo>
                    <a:pt x="832612" y="1472476"/>
                  </a:lnTo>
                  <a:lnTo>
                    <a:pt x="832612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667133" y="2749295"/>
            <a:ext cx="746760" cy="714375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635" algn="ctr">
              <a:lnSpc>
                <a:spcPct val="101200"/>
              </a:lnSpc>
              <a:spcBef>
                <a:spcPts val="180"/>
              </a:spcBef>
            </a:pPr>
            <a:r>
              <a:rPr sz="1100" spc="-65">
                <a:latin typeface="Trebuchet MS"/>
                <a:cs typeface="Trebuchet MS"/>
              </a:rPr>
              <a:t>The </a:t>
            </a:r>
            <a:r>
              <a:rPr sz="1100" b="1" spc="-40">
                <a:latin typeface="Trebuchet MS"/>
                <a:cs typeface="Trebuchet MS"/>
              </a:rPr>
              <a:t>two  </a:t>
            </a:r>
            <a:r>
              <a:rPr sz="1100" b="1" spc="-55">
                <a:latin typeface="Trebuchet MS"/>
                <a:cs typeface="Trebuchet MS"/>
              </a:rPr>
              <a:t>main  </a:t>
            </a:r>
            <a:r>
              <a:rPr sz="1100" b="1" spc="-65">
                <a:latin typeface="Trebuchet MS"/>
                <a:cs typeface="Trebuchet MS"/>
              </a:rPr>
              <a:t>c</a:t>
            </a:r>
            <a:r>
              <a:rPr sz="1100" b="1" spc="-80">
                <a:latin typeface="Trebuchet MS"/>
                <a:cs typeface="Trebuchet MS"/>
              </a:rPr>
              <a:t>o</a:t>
            </a:r>
            <a:r>
              <a:rPr sz="1100" b="1" spc="-50">
                <a:latin typeface="Trebuchet MS"/>
                <a:cs typeface="Trebuchet MS"/>
              </a:rPr>
              <a:t>m</a:t>
            </a:r>
            <a:r>
              <a:rPr sz="1100" b="1" spc="-60">
                <a:latin typeface="Trebuchet MS"/>
                <a:cs typeface="Trebuchet MS"/>
              </a:rPr>
              <a:t>p</a:t>
            </a:r>
            <a:r>
              <a:rPr sz="1100" b="1" spc="-40">
                <a:latin typeface="Trebuchet MS"/>
                <a:cs typeface="Trebuchet MS"/>
              </a:rPr>
              <a:t>o</a:t>
            </a:r>
            <a:r>
              <a:rPr sz="1100" b="1" spc="-65">
                <a:latin typeface="Trebuchet MS"/>
                <a:cs typeface="Trebuchet MS"/>
              </a:rPr>
              <a:t>n</a:t>
            </a:r>
            <a:r>
              <a:rPr sz="1100" b="1" spc="-85">
                <a:latin typeface="Trebuchet MS"/>
                <a:cs typeface="Trebuchet MS"/>
              </a:rPr>
              <a:t>e</a:t>
            </a:r>
            <a:r>
              <a:rPr sz="1100" b="1" spc="-65">
                <a:latin typeface="Trebuchet MS"/>
                <a:cs typeface="Trebuchet MS"/>
              </a:rPr>
              <a:t>n</a:t>
            </a:r>
            <a:r>
              <a:rPr sz="1100" b="1" spc="-50">
                <a:latin typeface="Trebuchet MS"/>
                <a:cs typeface="Trebuchet MS"/>
              </a:rPr>
              <a:t>t</a:t>
            </a:r>
            <a:r>
              <a:rPr sz="1100" b="1" spc="-30">
                <a:latin typeface="Trebuchet MS"/>
                <a:cs typeface="Trebuchet MS"/>
              </a:rPr>
              <a:t>s  </a:t>
            </a:r>
            <a:r>
              <a:rPr sz="1100" spc="-50">
                <a:latin typeface="Trebuchet MS"/>
                <a:cs typeface="Trebuchet MS"/>
              </a:rPr>
              <a:t>of</a:t>
            </a:r>
            <a:r>
              <a:rPr sz="1100" spc="-105">
                <a:latin typeface="Trebuchet MS"/>
                <a:cs typeface="Trebuchet MS"/>
              </a:rPr>
              <a:t> </a:t>
            </a:r>
            <a:r>
              <a:rPr sz="1100" spc="-5">
                <a:latin typeface="Trebuchet MS"/>
                <a:cs typeface="Trebuchet MS"/>
              </a:rPr>
              <a:t>MLOps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394361" y="1628775"/>
            <a:ext cx="5193030" cy="599440"/>
          </a:xfrm>
          <a:prstGeom prst="rect">
            <a:avLst/>
          </a:prstGeom>
          <a:solidFill>
            <a:srgbClr val="F2F2F2"/>
          </a:solidFill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3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1200" spc="-70">
                <a:latin typeface="Trebuchet MS"/>
                <a:cs typeface="Trebuchet MS"/>
              </a:rPr>
              <a:t>The </a:t>
            </a:r>
            <a:r>
              <a:rPr sz="1200" b="1" spc="-60">
                <a:latin typeface="Trebuchet MS"/>
                <a:cs typeface="Trebuchet MS"/>
              </a:rPr>
              <a:t>purpose </a:t>
            </a:r>
            <a:r>
              <a:rPr sz="1200" spc="-45">
                <a:latin typeface="Trebuchet MS"/>
                <a:cs typeface="Trebuchet MS"/>
              </a:rPr>
              <a:t>of</a:t>
            </a:r>
            <a:r>
              <a:rPr sz="1200" spc="-150">
                <a:latin typeface="Trebuchet MS"/>
                <a:cs typeface="Trebuchet MS"/>
              </a:rPr>
              <a:t> </a:t>
            </a:r>
            <a:r>
              <a:rPr sz="1200" spc="-10">
                <a:latin typeface="Trebuchet MS"/>
                <a:cs typeface="Trebuchet MS"/>
              </a:rPr>
              <a:t>MLOp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597178" y="2437891"/>
            <a:ext cx="3605529" cy="37786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5080">
              <a:lnSpc>
                <a:spcPct val="105000"/>
              </a:lnSpc>
              <a:spcBef>
                <a:spcPts val="25"/>
              </a:spcBef>
            </a:pPr>
            <a:r>
              <a:rPr sz="1200" b="1" spc="-65">
                <a:latin typeface="Trebuchet MS"/>
                <a:cs typeface="Trebuchet MS"/>
              </a:rPr>
              <a:t>Avoid</a:t>
            </a:r>
            <a:r>
              <a:rPr sz="1200" b="1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building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b="1" spc="-80">
                <a:latin typeface="Trebuchet MS"/>
                <a:cs typeface="Trebuchet MS"/>
              </a:rPr>
              <a:t>technical</a:t>
            </a:r>
            <a:r>
              <a:rPr sz="1200" b="1" spc="-85">
                <a:latin typeface="Trebuchet MS"/>
                <a:cs typeface="Trebuchet MS"/>
              </a:rPr>
              <a:t> </a:t>
            </a:r>
            <a:r>
              <a:rPr sz="1200" b="1" spc="-65">
                <a:latin typeface="Trebuchet MS"/>
                <a:cs typeface="Trebuchet MS"/>
              </a:rPr>
              <a:t>de</a:t>
            </a:r>
            <a:r>
              <a:rPr lang="nb-NO" sz="1200" b="1" spc="-65">
                <a:latin typeface="Trebuchet MS"/>
                <a:cs typeface="Trebuchet MS"/>
              </a:rPr>
              <a:t>b</a:t>
            </a:r>
            <a:r>
              <a:rPr sz="1200" b="1" spc="-65">
                <a:latin typeface="Trebuchet MS"/>
                <a:cs typeface="Trebuchet MS"/>
              </a:rPr>
              <a:t>t</a:t>
            </a:r>
            <a:r>
              <a:rPr sz="1200" b="1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by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focusing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20">
                <a:latin typeface="Trebuchet MS"/>
                <a:cs typeface="Trebuchet MS"/>
              </a:rPr>
              <a:t>o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reusabl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60">
                <a:latin typeface="Trebuchet MS"/>
                <a:cs typeface="Trebuchet MS"/>
              </a:rPr>
              <a:t>modularized </a:t>
            </a:r>
            <a:r>
              <a:rPr sz="1200" spc="-70">
                <a:latin typeface="Trebuchet MS"/>
                <a:cs typeface="Trebuchet MS"/>
              </a:rPr>
              <a:t>technical</a:t>
            </a:r>
            <a:r>
              <a:rPr sz="1200" spc="-13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structure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597178" y="4428235"/>
            <a:ext cx="2871470" cy="397510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12700" marR="5080">
              <a:lnSpc>
                <a:spcPct val="103299"/>
              </a:lnSpc>
              <a:spcBef>
                <a:spcPts val="50"/>
              </a:spcBef>
            </a:pPr>
            <a:r>
              <a:rPr sz="1200" spc="-45">
                <a:latin typeface="Trebuchet MS"/>
                <a:cs typeface="Trebuchet MS"/>
              </a:rPr>
              <a:t>Ensure </a:t>
            </a:r>
            <a:r>
              <a:rPr sz="1200" b="1" spc="-75">
                <a:latin typeface="Trebuchet MS"/>
                <a:cs typeface="Trebuchet MS"/>
              </a:rPr>
              <a:t>governance </a:t>
            </a:r>
            <a:r>
              <a:rPr sz="1200" spc="-55">
                <a:latin typeface="Trebuchet MS"/>
                <a:cs typeface="Trebuchet MS"/>
              </a:rPr>
              <a:t>by </a:t>
            </a:r>
            <a:r>
              <a:rPr sz="1200" spc="-60">
                <a:latin typeface="Trebuchet MS"/>
                <a:cs typeface="Trebuchet MS"/>
              </a:rPr>
              <a:t>defining </a:t>
            </a:r>
            <a:r>
              <a:rPr sz="1200" spc="-70">
                <a:latin typeface="Trebuchet MS"/>
                <a:cs typeface="Trebuchet MS"/>
              </a:rPr>
              <a:t>clear </a:t>
            </a:r>
            <a:r>
              <a:rPr sz="1200" spc="-50">
                <a:latin typeface="Trebuchet MS"/>
                <a:cs typeface="Trebuchet MS"/>
              </a:rPr>
              <a:t>roles</a:t>
            </a:r>
            <a:r>
              <a:rPr sz="1200" spc="-23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55">
                <a:latin typeface="Trebuchet MS"/>
                <a:cs typeface="Trebuchet MS"/>
              </a:rPr>
              <a:t>responsibilitie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597178" y="5412739"/>
            <a:ext cx="3408679" cy="409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5000"/>
              </a:lnSpc>
              <a:spcBef>
                <a:spcPts val="100"/>
              </a:spcBef>
            </a:pPr>
            <a:r>
              <a:rPr sz="1200" b="1" spc="-80">
                <a:latin typeface="Trebuchet MS"/>
                <a:cs typeface="Trebuchet MS"/>
              </a:rPr>
              <a:t>Reduce </a:t>
            </a:r>
            <a:r>
              <a:rPr sz="1200" b="1" spc="-75">
                <a:latin typeface="Trebuchet MS"/>
                <a:cs typeface="Trebuchet MS"/>
              </a:rPr>
              <a:t>ramp </a:t>
            </a:r>
            <a:r>
              <a:rPr sz="1200" b="1" spc="-60">
                <a:latin typeface="Trebuchet MS"/>
                <a:cs typeface="Trebuchet MS"/>
              </a:rPr>
              <a:t>up </a:t>
            </a:r>
            <a:r>
              <a:rPr sz="1200" b="1" spc="-80">
                <a:latin typeface="Trebuchet MS"/>
                <a:cs typeface="Trebuchet MS"/>
              </a:rPr>
              <a:t>time</a:t>
            </a:r>
            <a:r>
              <a:rPr sz="1200" spc="-80">
                <a:latin typeface="Trebuchet MS"/>
                <a:cs typeface="Trebuchet MS"/>
              </a:rPr>
              <a:t>: </a:t>
            </a:r>
            <a:r>
              <a:rPr sz="1200" spc="-15">
                <a:latin typeface="Trebuchet MS"/>
                <a:cs typeface="Trebuchet MS"/>
              </a:rPr>
              <a:t>Make </a:t>
            </a:r>
            <a:r>
              <a:rPr sz="1200" spc="-75">
                <a:latin typeface="Trebuchet MS"/>
                <a:cs typeface="Trebuchet MS"/>
              </a:rPr>
              <a:t>it </a:t>
            </a:r>
            <a:r>
              <a:rPr sz="1200" spc="-55">
                <a:latin typeface="Trebuchet MS"/>
                <a:cs typeface="Trebuchet MS"/>
              </a:rPr>
              <a:t>easier </a:t>
            </a:r>
            <a:r>
              <a:rPr sz="1200" spc="-50">
                <a:latin typeface="Trebuchet MS"/>
                <a:cs typeface="Trebuchet MS"/>
              </a:rPr>
              <a:t>to </a:t>
            </a:r>
            <a:r>
              <a:rPr sz="1200" spc="-65">
                <a:latin typeface="Trebuchet MS"/>
                <a:cs typeface="Trebuchet MS"/>
              </a:rPr>
              <a:t>get </a:t>
            </a:r>
            <a:r>
              <a:rPr sz="1200" spc="-45">
                <a:latin typeface="Trebuchet MS"/>
                <a:cs typeface="Trebuchet MS"/>
              </a:rPr>
              <a:t>new  </a:t>
            </a:r>
            <a:r>
              <a:rPr sz="1200" spc="-50">
                <a:latin typeface="Trebuchet MS"/>
                <a:cs typeface="Trebuchet MS"/>
              </a:rPr>
              <a:t>employees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up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speed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by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having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established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practice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597178" y="3340100"/>
            <a:ext cx="3483610" cy="57721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sz="1200" spc="-60">
                <a:latin typeface="Trebuchet MS"/>
                <a:cs typeface="Trebuchet MS"/>
              </a:rPr>
              <a:t>Streamline </a:t>
            </a:r>
            <a:r>
              <a:rPr sz="1200" spc="-55">
                <a:latin typeface="Trebuchet MS"/>
                <a:cs typeface="Trebuchet MS"/>
              </a:rPr>
              <a:t>processes, </a:t>
            </a:r>
            <a:r>
              <a:rPr sz="1200" b="1" spc="-75" err="1">
                <a:latin typeface="Trebuchet MS"/>
                <a:cs typeface="Trebuchet MS"/>
              </a:rPr>
              <a:t>en</a:t>
            </a:r>
            <a:r>
              <a:rPr lang="nb-NO" sz="1200" b="1" spc="-75">
                <a:latin typeface="Trebuchet MS"/>
                <a:cs typeface="Trebuchet MS"/>
              </a:rPr>
              <a:t>s</a:t>
            </a:r>
            <a:r>
              <a:rPr sz="1200" b="1" spc="-75" err="1">
                <a:latin typeface="Trebuchet MS"/>
                <a:cs typeface="Trebuchet MS"/>
              </a:rPr>
              <a:t>ure</a:t>
            </a:r>
            <a:r>
              <a:rPr sz="1200" b="1" spc="-75">
                <a:latin typeface="Trebuchet MS"/>
                <a:cs typeface="Trebuchet MS"/>
              </a:rPr>
              <a:t> </a:t>
            </a:r>
            <a:r>
              <a:rPr sz="1200" b="1" spc="-65">
                <a:latin typeface="Trebuchet MS"/>
                <a:cs typeface="Trebuchet MS"/>
              </a:rPr>
              <a:t>quality </a:t>
            </a:r>
            <a:r>
              <a:rPr sz="1200" b="1" spc="-55">
                <a:latin typeface="Trebuchet MS"/>
                <a:cs typeface="Trebuchet MS"/>
              </a:rPr>
              <a:t>and </a:t>
            </a:r>
            <a:r>
              <a:rPr sz="1200" b="1" spc="-85">
                <a:latin typeface="Trebuchet MS"/>
                <a:cs typeface="Trebuchet MS"/>
              </a:rPr>
              <a:t>reduce </a:t>
            </a:r>
            <a:r>
              <a:rPr sz="1200" b="1" spc="-70">
                <a:latin typeface="Trebuchet MS"/>
                <a:cs typeface="Trebuchet MS"/>
              </a:rPr>
              <a:t>risk</a:t>
            </a:r>
            <a:r>
              <a:rPr sz="1200" b="1" spc="-235">
                <a:latin typeface="Trebuchet MS"/>
                <a:cs typeface="Trebuchet MS"/>
              </a:rPr>
              <a:t> </a:t>
            </a:r>
            <a:r>
              <a:rPr sz="1200" b="1" spc="-50">
                <a:latin typeface="Trebuchet MS"/>
                <a:cs typeface="Trebuchet MS"/>
              </a:rPr>
              <a:t>of  </a:t>
            </a:r>
            <a:r>
              <a:rPr sz="1200" b="1" spc="-80">
                <a:latin typeface="Trebuchet MS"/>
                <a:cs typeface="Trebuchet MS"/>
              </a:rPr>
              <a:t>errors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60">
                <a:latin typeface="Trebuchet MS"/>
                <a:cs typeface="Trebuchet MS"/>
              </a:rPr>
              <a:t>increase </a:t>
            </a:r>
            <a:r>
              <a:rPr sz="1200" spc="-70">
                <a:latin typeface="Trebuchet MS"/>
                <a:cs typeface="Trebuchet MS"/>
              </a:rPr>
              <a:t>efficiency </a:t>
            </a:r>
            <a:r>
              <a:rPr sz="1200" spc="-45">
                <a:latin typeface="Trebuchet MS"/>
                <a:cs typeface="Trebuchet MS"/>
              </a:rPr>
              <a:t>of </a:t>
            </a:r>
            <a:r>
              <a:rPr sz="1200" spc="-55">
                <a:latin typeface="Trebuchet MS"/>
                <a:cs typeface="Trebuchet MS"/>
              </a:rPr>
              <a:t>development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50">
                <a:latin typeface="Trebuchet MS"/>
                <a:cs typeface="Trebuchet MS"/>
              </a:rPr>
              <a:t>operations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6586728" y="5315711"/>
            <a:ext cx="680085" cy="680085"/>
            <a:chOff x="6586728" y="5315711"/>
            <a:chExt cx="680085" cy="680085"/>
          </a:xfrm>
        </p:grpSpPr>
        <p:sp>
          <p:nvSpPr>
            <p:cNvPr id="31" name="object 31"/>
            <p:cNvSpPr/>
            <p:nvPr/>
          </p:nvSpPr>
          <p:spPr>
            <a:xfrm>
              <a:off x="6586728" y="5315711"/>
              <a:ext cx="679703" cy="67970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6672072" y="5401055"/>
              <a:ext cx="509016" cy="50901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3" name="object 33"/>
          <p:cNvGrpSpPr/>
          <p:nvPr/>
        </p:nvGrpSpPr>
        <p:grpSpPr>
          <a:xfrm>
            <a:off x="6586728" y="4322064"/>
            <a:ext cx="680085" cy="676910"/>
            <a:chOff x="6586728" y="4322064"/>
            <a:chExt cx="680085" cy="676910"/>
          </a:xfrm>
        </p:grpSpPr>
        <p:sp>
          <p:nvSpPr>
            <p:cNvPr id="34" name="object 34"/>
            <p:cNvSpPr/>
            <p:nvPr/>
          </p:nvSpPr>
          <p:spPr>
            <a:xfrm>
              <a:off x="6586728" y="4322064"/>
              <a:ext cx="679703" cy="676656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672072" y="4407408"/>
              <a:ext cx="509016" cy="50596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" name="object 36"/>
          <p:cNvGrpSpPr/>
          <p:nvPr/>
        </p:nvGrpSpPr>
        <p:grpSpPr>
          <a:xfrm>
            <a:off x="6586728" y="3328415"/>
            <a:ext cx="680085" cy="676910"/>
            <a:chOff x="6586728" y="3328415"/>
            <a:chExt cx="680085" cy="676910"/>
          </a:xfrm>
        </p:grpSpPr>
        <p:sp>
          <p:nvSpPr>
            <p:cNvPr id="37" name="object 37"/>
            <p:cNvSpPr/>
            <p:nvPr/>
          </p:nvSpPr>
          <p:spPr>
            <a:xfrm>
              <a:off x="6586728" y="3328415"/>
              <a:ext cx="679703" cy="67665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672072" y="3413759"/>
              <a:ext cx="509016" cy="50596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9" name="object 39"/>
          <p:cNvGrpSpPr/>
          <p:nvPr/>
        </p:nvGrpSpPr>
        <p:grpSpPr>
          <a:xfrm>
            <a:off x="6586728" y="2331720"/>
            <a:ext cx="680085" cy="680085"/>
            <a:chOff x="6586728" y="2331720"/>
            <a:chExt cx="680085" cy="680085"/>
          </a:xfrm>
        </p:grpSpPr>
        <p:sp>
          <p:nvSpPr>
            <p:cNvPr id="40" name="object 40"/>
            <p:cNvSpPr/>
            <p:nvPr/>
          </p:nvSpPr>
          <p:spPr>
            <a:xfrm>
              <a:off x="6586728" y="2331720"/>
              <a:ext cx="679703" cy="679703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6672072" y="2417064"/>
              <a:ext cx="509016" cy="505967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4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16</a:t>
            </a:fld>
            <a:endParaRPr spc="-2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471239" y="3111"/>
            <a:ext cx="1720850" cy="1191895"/>
          </a:xfrm>
          <a:custGeom>
            <a:avLst/>
            <a:gdLst/>
            <a:ahLst/>
            <a:cxnLst/>
            <a:rect l="l" t="t" r="r" b="b"/>
            <a:pathLst>
              <a:path w="1720850" h="1191895">
                <a:moveTo>
                  <a:pt x="1720761" y="0"/>
                </a:moveTo>
                <a:lnTo>
                  <a:pt x="0" y="0"/>
                </a:lnTo>
                <a:lnTo>
                  <a:pt x="0" y="1191310"/>
                </a:lnTo>
                <a:lnTo>
                  <a:pt x="1720761" y="1191310"/>
                </a:lnTo>
                <a:lnTo>
                  <a:pt x="1720761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884093" y="2076310"/>
            <a:ext cx="560070" cy="3326129"/>
          </a:xfrm>
          <a:custGeom>
            <a:avLst/>
            <a:gdLst/>
            <a:ahLst/>
            <a:cxnLst/>
            <a:rect l="l" t="t" r="r" b="b"/>
            <a:pathLst>
              <a:path w="560070" h="3326129">
                <a:moveTo>
                  <a:pt x="560006" y="3287852"/>
                </a:moveTo>
                <a:lnTo>
                  <a:pt x="547306" y="3287852"/>
                </a:lnTo>
                <a:lnTo>
                  <a:pt x="547306" y="3325952"/>
                </a:lnTo>
                <a:lnTo>
                  <a:pt x="560006" y="3325952"/>
                </a:lnTo>
                <a:lnTo>
                  <a:pt x="560006" y="3287852"/>
                </a:lnTo>
                <a:close/>
              </a:path>
              <a:path w="560070" h="3326129">
                <a:moveTo>
                  <a:pt x="560006" y="3237052"/>
                </a:moveTo>
                <a:lnTo>
                  <a:pt x="547306" y="3237052"/>
                </a:lnTo>
                <a:lnTo>
                  <a:pt x="547306" y="3275152"/>
                </a:lnTo>
                <a:lnTo>
                  <a:pt x="560006" y="3275152"/>
                </a:lnTo>
                <a:lnTo>
                  <a:pt x="560006" y="3237052"/>
                </a:lnTo>
                <a:close/>
              </a:path>
              <a:path w="560070" h="3326129">
                <a:moveTo>
                  <a:pt x="560006" y="3186252"/>
                </a:moveTo>
                <a:lnTo>
                  <a:pt x="547306" y="3186252"/>
                </a:lnTo>
                <a:lnTo>
                  <a:pt x="547306" y="3224352"/>
                </a:lnTo>
                <a:lnTo>
                  <a:pt x="560006" y="3224352"/>
                </a:lnTo>
                <a:lnTo>
                  <a:pt x="560006" y="3186252"/>
                </a:lnTo>
                <a:close/>
              </a:path>
              <a:path w="560070" h="3326129">
                <a:moveTo>
                  <a:pt x="560006" y="3135452"/>
                </a:moveTo>
                <a:lnTo>
                  <a:pt x="547306" y="3135452"/>
                </a:lnTo>
                <a:lnTo>
                  <a:pt x="547306" y="3173552"/>
                </a:lnTo>
                <a:lnTo>
                  <a:pt x="560006" y="3173552"/>
                </a:lnTo>
                <a:lnTo>
                  <a:pt x="560006" y="3135452"/>
                </a:lnTo>
                <a:close/>
              </a:path>
              <a:path w="560070" h="3326129">
                <a:moveTo>
                  <a:pt x="560006" y="3084652"/>
                </a:moveTo>
                <a:lnTo>
                  <a:pt x="547306" y="3084652"/>
                </a:lnTo>
                <a:lnTo>
                  <a:pt x="547306" y="3122752"/>
                </a:lnTo>
                <a:lnTo>
                  <a:pt x="560006" y="3122752"/>
                </a:lnTo>
                <a:lnTo>
                  <a:pt x="560006" y="3084652"/>
                </a:lnTo>
                <a:close/>
              </a:path>
              <a:path w="560070" h="3326129">
                <a:moveTo>
                  <a:pt x="560006" y="3033852"/>
                </a:moveTo>
                <a:lnTo>
                  <a:pt x="547306" y="3033852"/>
                </a:lnTo>
                <a:lnTo>
                  <a:pt x="547306" y="3071952"/>
                </a:lnTo>
                <a:lnTo>
                  <a:pt x="560006" y="3071952"/>
                </a:lnTo>
                <a:lnTo>
                  <a:pt x="560006" y="3033852"/>
                </a:lnTo>
                <a:close/>
              </a:path>
              <a:path w="560070" h="3326129">
                <a:moveTo>
                  <a:pt x="560006" y="2983052"/>
                </a:moveTo>
                <a:lnTo>
                  <a:pt x="547306" y="2983052"/>
                </a:lnTo>
                <a:lnTo>
                  <a:pt x="547306" y="3021152"/>
                </a:lnTo>
                <a:lnTo>
                  <a:pt x="560006" y="3021152"/>
                </a:lnTo>
                <a:lnTo>
                  <a:pt x="560006" y="2983052"/>
                </a:lnTo>
                <a:close/>
              </a:path>
              <a:path w="560070" h="3326129">
                <a:moveTo>
                  <a:pt x="560006" y="2932252"/>
                </a:moveTo>
                <a:lnTo>
                  <a:pt x="547306" y="2932252"/>
                </a:lnTo>
                <a:lnTo>
                  <a:pt x="547306" y="2970352"/>
                </a:lnTo>
                <a:lnTo>
                  <a:pt x="560006" y="2970352"/>
                </a:lnTo>
                <a:lnTo>
                  <a:pt x="560006" y="2932252"/>
                </a:lnTo>
                <a:close/>
              </a:path>
              <a:path w="560070" h="3326129">
                <a:moveTo>
                  <a:pt x="560006" y="2881452"/>
                </a:moveTo>
                <a:lnTo>
                  <a:pt x="547306" y="2881452"/>
                </a:lnTo>
                <a:lnTo>
                  <a:pt x="547306" y="2919552"/>
                </a:lnTo>
                <a:lnTo>
                  <a:pt x="560006" y="2919552"/>
                </a:lnTo>
                <a:lnTo>
                  <a:pt x="560006" y="2881452"/>
                </a:lnTo>
                <a:close/>
              </a:path>
              <a:path w="560070" h="3326129">
                <a:moveTo>
                  <a:pt x="560006" y="2830652"/>
                </a:moveTo>
                <a:lnTo>
                  <a:pt x="547306" y="2830652"/>
                </a:lnTo>
                <a:lnTo>
                  <a:pt x="547306" y="2868752"/>
                </a:lnTo>
                <a:lnTo>
                  <a:pt x="560006" y="2868752"/>
                </a:lnTo>
                <a:lnTo>
                  <a:pt x="560006" y="2830652"/>
                </a:lnTo>
                <a:close/>
              </a:path>
              <a:path w="560070" h="3326129">
                <a:moveTo>
                  <a:pt x="560006" y="2779852"/>
                </a:moveTo>
                <a:lnTo>
                  <a:pt x="547306" y="2779852"/>
                </a:lnTo>
                <a:lnTo>
                  <a:pt x="547306" y="2817952"/>
                </a:lnTo>
                <a:lnTo>
                  <a:pt x="560006" y="2817952"/>
                </a:lnTo>
                <a:lnTo>
                  <a:pt x="560006" y="2779852"/>
                </a:lnTo>
                <a:close/>
              </a:path>
              <a:path w="560070" h="3326129">
                <a:moveTo>
                  <a:pt x="560006" y="2729052"/>
                </a:moveTo>
                <a:lnTo>
                  <a:pt x="547306" y="2729052"/>
                </a:lnTo>
                <a:lnTo>
                  <a:pt x="547306" y="2767152"/>
                </a:lnTo>
                <a:lnTo>
                  <a:pt x="560006" y="2767152"/>
                </a:lnTo>
                <a:lnTo>
                  <a:pt x="560006" y="2729052"/>
                </a:lnTo>
                <a:close/>
              </a:path>
              <a:path w="560070" h="3326129">
                <a:moveTo>
                  <a:pt x="560006" y="2678252"/>
                </a:moveTo>
                <a:lnTo>
                  <a:pt x="547306" y="2678252"/>
                </a:lnTo>
                <a:lnTo>
                  <a:pt x="547306" y="2716352"/>
                </a:lnTo>
                <a:lnTo>
                  <a:pt x="560006" y="2716352"/>
                </a:lnTo>
                <a:lnTo>
                  <a:pt x="560006" y="2678252"/>
                </a:lnTo>
                <a:close/>
              </a:path>
              <a:path w="560070" h="3326129">
                <a:moveTo>
                  <a:pt x="560006" y="2627452"/>
                </a:moveTo>
                <a:lnTo>
                  <a:pt x="547306" y="2627452"/>
                </a:lnTo>
                <a:lnTo>
                  <a:pt x="547306" y="2665552"/>
                </a:lnTo>
                <a:lnTo>
                  <a:pt x="560006" y="2665552"/>
                </a:lnTo>
                <a:lnTo>
                  <a:pt x="560006" y="2627452"/>
                </a:lnTo>
                <a:close/>
              </a:path>
              <a:path w="560070" h="3326129">
                <a:moveTo>
                  <a:pt x="560006" y="2576652"/>
                </a:moveTo>
                <a:lnTo>
                  <a:pt x="547306" y="2576652"/>
                </a:lnTo>
                <a:lnTo>
                  <a:pt x="547306" y="2614752"/>
                </a:lnTo>
                <a:lnTo>
                  <a:pt x="560006" y="2614752"/>
                </a:lnTo>
                <a:lnTo>
                  <a:pt x="560006" y="2576652"/>
                </a:lnTo>
                <a:close/>
              </a:path>
              <a:path w="560070" h="3326129">
                <a:moveTo>
                  <a:pt x="560006" y="2525852"/>
                </a:moveTo>
                <a:lnTo>
                  <a:pt x="547306" y="2525852"/>
                </a:lnTo>
                <a:lnTo>
                  <a:pt x="547306" y="2563952"/>
                </a:lnTo>
                <a:lnTo>
                  <a:pt x="560006" y="2563952"/>
                </a:lnTo>
                <a:lnTo>
                  <a:pt x="560006" y="2525852"/>
                </a:lnTo>
                <a:close/>
              </a:path>
              <a:path w="560070" h="3326129">
                <a:moveTo>
                  <a:pt x="560006" y="2475052"/>
                </a:moveTo>
                <a:lnTo>
                  <a:pt x="547306" y="2475052"/>
                </a:lnTo>
                <a:lnTo>
                  <a:pt x="547306" y="2513152"/>
                </a:lnTo>
                <a:lnTo>
                  <a:pt x="560006" y="2513152"/>
                </a:lnTo>
                <a:lnTo>
                  <a:pt x="560006" y="2475052"/>
                </a:lnTo>
                <a:close/>
              </a:path>
              <a:path w="560070" h="3326129">
                <a:moveTo>
                  <a:pt x="560006" y="2424252"/>
                </a:moveTo>
                <a:lnTo>
                  <a:pt x="547306" y="2424252"/>
                </a:lnTo>
                <a:lnTo>
                  <a:pt x="547306" y="2462352"/>
                </a:lnTo>
                <a:lnTo>
                  <a:pt x="560006" y="2462352"/>
                </a:lnTo>
                <a:lnTo>
                  <a:pt x="560006" y="2424252"/>
                </a:lnTo>
                <a:close/>
              </a:path>
              <a:path w="560070" h="3326129">
                <a:moveTo>
                  <a:pt x="560006" y="2373452"/>
                </a:moveTo>
                <a:lnTo>
                  <a:pt x="547306" y="2373452"/>
                </a:lnTo>
                <a:lnTo>
                  <a:pt x="547306" y="2411552"/>
                </a:lnTo>
                <a:lnTo>
                  <a:pt x="560006" y="2411552"/>
                </a:lnTo>
                <a:lnTo>
                  <a:pt x="560006" y="2373452"/>
                </a:lnTo>
                <a:close/>
              </a:path>
              <a:path w="560070" h="3326129">
                <a:moveTo>
                  <a:pt x="560006" y="2322652"/>
                </a:moveTo>
                <a:lnTo>
                  <a:pt x="547306" y="2322652"/>
                </a:lnTo>
                <a:lnTo>
                  <a:pt x="547306" y="2360752"/>
                </a:lnTo>
                <a:lnTo>
                  <a:pt x="560006" y="2360752"/>
                </a:lnTo>
                <a:lnTo>
                  <a:pt x="560006" y="2322652"/>
                </a:lnTo>
                <a:close/>
              </a:path>
              <a:path w="560070" h="3326129">
                <a:moveTo>
                  <a:pt x="560006" y="2271852"/>
                </a:moveTo>
                <a:lnTo>
                  <a:pt x="547306" y="2271852"/>
                </a:lnTo>
                <a:lnTo>
                  <a:pt x="547306" y="2309952"/>
                </a:lnTo>
                <a:lnTo>
                  <a:pt x="560006" y="2309952"/>
                </a:lnTo>
                <a:lnTo>
                  <a:pt x="560006" y="2271852"/>
                </a:lnTo>
                <a:close/>
              </a:path>
              <a:path w="560070" h="3326129">
                <a:moveTo>
                  <a:pt x="560006" y="2221052"/>
                </a:moveTo>
                <a:lnTo>
                  <a:pt x="547306" y="2221052"/>
                </a:lnTo>
                <a:lnTo>
                  <a:pt x="547306" y="2259152"/>
                </a:lnTo>
                <a:lnTo>
                  <a:pt x="560006" y="2259152"/>
                </a:lnTo>
                <a:lnTo>
                  <a:pt x="560006" y="2221052"/>
                </a:lnTo>
                <a:close/>
              </a:path>
              <a:path w="560070" h="3326129">
                <a:moveTo>
                  <a:pt x="560006" y="2170252"/>
                </a:moveTo>
                <a:lnTo>
                  <a:pt x="547306" y="2170252"/>
                </a:lnTo>
                <a:lnTo>
                  <a:pt x="547306" y="2208352"/>
                </a:lnTo>
                <a:lnTo>
                  <a:pt x="560006" y="2208352"/>
                </a:lnTo>
                <a:lnTo>
                  <a:pt x="560006" y="2170252"/>
                </a:lnTo>
                <a:close/>
              </a:path>
              <a:path w="560070" h="3326129">
                <a:moveTo>
                  <a:pt x="560006" y="2119452"/>
                </a:moveTo>
                <a:lnTo>
                  <a:pt x="547306" y="2119452"/>
                </a:lnTo>
                <a:lnTo>
                  <a:pt x="547306" y="2157552"/>
                </a:lnTo>
                <a:lnTo>
                  <a:pt x="560006" y="2157552"/>
                </a:lnTo>
                <a:lnTo>
                  <a:pt x="560006" y="2119452"/>
                </a:lnTo>
                <a:close/>
              </a:path>
              <a:path w="560070" h="3326129">
                <a:moveTo>
                  <a:pt x="560006" y="2068652"/>
                </a:moveTo>
                <a:lnTo>
                  <a:pt x="547306" y="2068652"/>
                </a:lnTo>
                <a:lnTo>
                  <a:pt x="547306" y="2106752"/>
                </a:lnTo>
                <a:lnTo>
                  <a:pt x="560006" y="2106752"/>
                </a:lnTo>
                <a:lnTo>
                  <a:pt x="560006" y="2068652"/>
                </a:lnTo>
                <a:close/>
              </a:path>
              <a:path w="560070" h="3326129">
                <a:moveTo>
                  <a:pt x="560006" y="2017852"/>
                </a:moveTo>
                <a:lnTo>
                  <a:pt x="547306" y="2017852"/>
                </a:lnTo>
                <a:lnTo>
                  <a:pt x="547306" y="2055952"/>
                </a:lnTo>
                <a:lnTo>
                  <a:pt x="560006" y="2055952"/>
                </a:lnTo>
                <a:lnTo>
                  <a:pt x="560006" y="2017852"/>
                </a:lnTo>
                <a:close/>
              </a:path>
              <a:path w="560070" h="3326129">
                <a:moveTo>
                  <a:pt x="560006" y="1967052"/>
                </a:moveTo>
                <a:lnTo>
                  <a:pt x="547306" y="1967052"/>
                </a:lnTo>
                <a:lnTo>
                  <a:pt x="547306" y="2005152"/>
                </a:lnTo>
                <a:lnTo>
                  <a:pt x="560006" y="2005152"/>
                </a:lnTo>
                <a:lnTo>
                  <a:pt x="560006" y="1967052"/>
                </a:lnTo>
                <a:close/>
              </a:path>
              <a:path w="560070" h="3326129">
                <a:moveTo>
                  <a:pt x="560006" y="1916252"/>
                </a:moveTo>
                <a:lnTo>
                  <a:pt x="547306" y="1916252"/>
                </a:lnTo>
                <a:lnTo>
                  <a:pt x="547306" y="1954352"/>
                </a:lnTo>
                <a:lnTo>
                  <a:pt x="560006" y="1954352"/>
                </a:lnTo>
                <a:lnTo>
                  <a:pt x="560006" y="1916252"/>
                </a:lnTo>
                <a:close/>
              </a:path>
              <a:path w="560070" h="3326129">
                <a:moveTo>
                  <a:pt x="560006" y="1865452"/>
                </a:moveTo>
                <a:lnTo>
                  <a:pt x="547306" y="1865452"/>
                </a:lnTo>
                <a:lnTo>
                  <a:pt x="547306" y="1903552"/>
                </a:lnTo>
                <a:lnTo>
                  <a:pt x="560006" y="1903552"/>
                </a:lnTo>
                <a:lnTo>
                  <a:pt x="560006" y="1865452"/>
                </a:lnTo>
                <a:close/>
              </a:path>
              <a:path w="560070" h="3326129">
                <a:moveTo>
                  <a:pt x="560006" y="1814652"/>
                </a:moveTo>
                <a:lnTo>
                  <a:pt x="547306" y="1814652"/>
                </a:lnTo>
                <a:lnTo>
                  <a:pt x="547306" y="1852752"/>
                </a:lnTo>
                <a:lnTo>
                  <a:pt x="560006" y="1852752"/>
                </a:lnTo>
                <a:lnTo>
                  <a:pt x="560006" y="1814652"/>
                </a:lnTo>
                <a:close/>
              </a:path>
              <a:path w="560070" h="3326129">
                <a:moveTo>
                  <a:pt x="560006" y="1763852"/>
                </a:moveTo>
                <a:lnTo>
                  <a:pt x="547306" y="1763852"/>
                </a:lnTo>
                <a:lnTo>
                  <a:pt x="547306" y="1801952"/>
                </a:lnTo>
                <a:lnTo>
                  <a:pt x="560006" y="1801952"/>
                </a:lnTo>
                <a:lnTo>
                  <a:pt x="560006" y="1763852"/>
                </a:lnTo>
                <a:close/>
              </a:path>
              <a:path w="560070" h="3326129">
                <a:moveTo>
                  <a:pt x="560006" y="1713052"/>
                </a:moveTo>
                <a:lnTo>
                  <a:pt x="547306" y="1713052"/>
                </a:lnTo>
                <a:lnTo>
                  <a:pt x="547306" y="1751152"/>
                </a:lnTo>
                <a:lnTo>
                  <a:pt x="560006" y="1751152"/>
                </a:lnTo>
                <a:lnTo>
                  <a:pt x="560006" y="1713052"/>
                </a:lnTo>
                <a:close/>
              </a:path>
              <a:path w="560070" h="3326129">
                <a:moveTo>
                  <a:pt x="547306" y="1662976"/>
                </a:moveTo>
                <a:lnTo>
                  <a:pt x="547306" y="1700352"/>
                </a:lnTo>
                <a:lnTo>
                  <a:pt x="560006" y="1700352"/>
                </a:lnTo>
                <a:lnTo>
                  <a:pt x="560006" y="1669326"/>
                </a:lnTo>
                <a:lnTo>
                  <a:pt x="552932" y="1669326"/>
                </a:lnTo>
                <a:lnTo>
                  <a:pt x="552932" y="1668602"/>
                </a:lnTo>
                <a:lnTo>
                  <a:pt x="547306" y="1662976"/>
                </a:lnTo>
                <a:close/>
              </a:path>
              <a:path w="560070" h="3326129">
                <a:moveTo>
                  <a:pt x="552932" y="1668602"/>
                </a:moveTo>
                <a:lnTo>
                  <a:pt x="552932" y="1669326"/>
                </a:lnTo>
                <a:lnTo>
                  <a:pt x="553656" y="1669326"/>
                </a:lnTo>
                <a:lnTo>
                  <a:pt x="552932" y="1668602"/>
                </a:lnTo>
                <a:close/>
              </a:path>
              <a:path w="560070" h="3326129">
                <a:moveTo>
                  <a:pt x="557174" y="1656626"/>
                </a:moveTo>
                <a:lnTo>
                  <a:pt x="552932" y="1656626"/>
                </a:lnTo>
                <a:lnTo>
                  <a:pt x="552932" y="1668602"/>
                </a:lnTo>
                <a:lnTo>
                  <a:pt x="553656" y="1669326"/>
                </a:lnTo>
                <a:lnTo>
                  <a:pt x="560006" y="1669326"/>
                </a:lnTo>
                <a:lnTo>
                  <a:pt x="560006" y="1659470"/>
                </a:lnTo>
                <a:lnTo>
                  <a:pt x="557174" y="1656626"/>
                </a:lnTo>
                <a:close/>
              </a:path>
              <a:path w="560070" h="3326129">
                <a:moveTo>
                  <a:pt x="540232" y="1656626"/>
                </a:moveTo>
                <a:lnTo>
                  <a:pt x="502132" y="1656626"/>
                </a:lnTo>
                <a:lnTo>
                  <a:pt x="502132" y="1669326"/>
                </a:lnTo>
                <a:lnTo>
                  <a:pt x="540232" y="1669326"/>
                </a:lnTo>
                <a:lnTo>
                  <a:pt x="540232" y="1656626"/>
                </a:lnTo>
                <a:close/>
              </a:path>
              <a:path w="560070" h="3326129">
                <a:moveTo>
                  <a:pt x="489432" y="1656626"/>
                </a:moveTo>
                <a:lnTo>
                  <a:pt x="451332" y="1656626"/>
                </a:lnTo>
                <a:lnTo>
                  <a:pt x="451332" y="1669326"/>
                </a:lnTo>
                <a:lnTo>
                  <a:pt x="489432" y="1669326"/>
                </a:lnTo>
                <a:lnTo>
                  <a:pt x="489432" y="1656626"/>
                </a:lnTo>
                <a:close/>
              </a:path>
              <a:path w="560070" h="3326129">
                <a:moveTo>
                  <a:pt x="438632" y="1656626"/>
                </a:moveTo>
                <a:lnTo>
                  <a:pt x="400532" y="1656626"/>
                </a:lnTo>
                <a:lnTo>
                  <a:pt x="400532" y="1669326"/>
                </a:lnTo>
                <a:lnTo>
                  <a:pt x="438632" y="1669326"/>
                </a:lnTo>
                <a:lnTo>
                  <a:pt x="438632" y="1656626"/>
                </a:lnTo>
                <a:close/>
              </a:path>
              <a:path w="560070" h="3326129">
                <a:moveTo>
                  <a:pt x="387832" y="1656626"/>
                </a:moveTo>
                <a:lnTo>
                  <a:pt x="349732" y="1656626"/>
                </a:lnTo>
                <a:lnTo>
                  <a:pt x="349732" y="1669326"/>
                </a:lnTo>
                <a:lnTo>
                  <a:pt x="387832" y="1669326"/>
                </a:lnTo>
                <a:lnTo>
                  <a:pt x="387832" y="1656626"/>
                </a:lnTo>
                <a:close/>
              </a:path>
              <a:path w="560070" h="3326129">
                <a:moveTo>
                  <a:pt x="337032" y="1656626"/>
                </a:moveTo>
                <a:lnTo>
                  <a:pt x="298932" y="1656626"/>
                </a:lnTo>
                <a:lnTo>
                  <a:pt x="298932" y="1669326"/>
                </a:lnTo>
                <a:lnTo>
                  <a:pt x="337032" y="1669326"/>
                </a:lnTo>
                <a:lnTo>
                  <a:pt x="337032" y="1656626"/>
                </a:lnTo>
                <a:close/>
              </a:path>
              <a:path w="560070" h="3326129">
                <a:moveTo>
                  <a:pt x="286232" y="1656626"/>
                </a:moveTo>
                <a:lnTo>
                  <a:pt x="248132" y="1656626"/>
                </a:lnTo>
                <a:lnTo>
                  <a:pt x="248132" y="1669326"/>
                </a:lnTo>
                <a:lnTo>
                  <a:pt x="286232" y="1669326"/>
                </a:lnTo>
                <a:lnTo>
                  <a:pt x="286232" y="1656626"/>
                </a:lnTo>
                <a:close/>
              </a:path>
              <a:path w="560070" h="3326129">
                <a:moveTo>
                  <a:pt x="235432" y="1656626"/>
                </a:moveTo>
                <a:lnTo>
                  <a:pt x="197332" y="1656626"/>
                </a:lnTo>
                <a:lnTo>
                  <a:pt x="197332" y="1669326"/>
                </a:lnTo>
                <a:lnTo>
                  <a:pt x="235432" y="1669326"/>
                </a:lnTo>
                <a:lnTo>
                  <a:pt x="235432" y="1656626"/>
                </a:lnTo>
                <a:close/>
              </a:path>
              <a:path w="560070" h="3326129">
                <a:moveTo>
                  <a:pt x="184632" y="1656626"/>
                </a:moveTo>
                <a:lnTo>
                  <a:pt x="146532" y="1656626"/>
                </a:lnTo>
                <a:lnTo>
                  <a:pt x="146532" y="1669326"/>
                </a:lnTo>
                <a:lnTo>
                  <a:pt x="184632" y="1669326"/>
                </a:lnTo>
                <a:lnTo>
                  <a:pt x="184632" y="1656626"/>
                </a:lnTo>
                <a:close/>
              </a:path>
              <a:path w="560070" h="3326129">
                <a:moveTo>
                  <a:pt x="133832" y="1656626"/>
                </a:moveTo>
                <a:lnTo>
                  <a:pt x="95732" y="1656626"/>
                </a:lnTo>
                <a:lnTo>
                  <a:pt x="95732" y="1669326"/>
                </a:lnTo>
                <a:lnTo>
                  <a:pt x="133832" y="1669326"/>
                </a:lnTo>
                <a:lnTo>
                  <a:pt x="133832" y="1656626"/>
                </a:lnTo>
                <a:close/>
              </a:path>
              <a:path w="560070" h="3326129">
                <a:moveTo>
                  <a:pt x="83032" y="1656626"/>
                </a:moveTo>
                <a:lnTo>
                  <a:pt x="44932" y="1656626"/>
                </a:lnTo>
                <a:lnTo>
                  <a:pt x="44932" y="1669326"/>
                </a:lnTo>
                <a:lnTo>
                  <a:pt x="83032" y="1669326"/>
                </a:lnTo>
                <a:lnTo>
                  <a:pt x="83032" y="1656626"/>
                </a:lnTo>
                <a:close/>
              </a:path>
              <a:path w="560070" h="3326129">
                <a:moveTo>
                  <a:pt x="44450" y="1619021"/>
                </a:moveTo>
                <a:lnTo>
                  <a:pt x="31750" y="1619021"/>
                </a:lnTo>
                <a:lnTo>
                  <a:pt x="31750" y="1657121"/>
                </a:lnTo>
                <a:lnTo>
                  <a:pt x="44450" y="1657121"/>
                </a:lnTo>
                <a:lnTo>
                  <a:pt x="44450" y="1619021"/>
                </a:lnTo>
                <a:close/>
              </a:path>
              <a:path w="560070" h="3326129">
                <a:moveTo>
                  <a:pt x="44450" y="1568221"/>
                </a:moveTo>
                <a:lnTo>
                  <a:pt x="31750" y="1568221"/>
                </a:lnTo>
                <a:lnTo>
                  <a:pt x="31750" y="1606321"/>
                </a:lnTo>
                <a:lnTo>
                  <a:pt x="44450" y="1606321"/>
                </a:lnTo>
                <a:lnTo>
                  <a:pt x="44450" y="1568221"/>
                </a:lnTo>
                <a:close/>
              </a:path>
              <a:path w="560070" h="3326129">
                <a:moveTo>
                  <a:pt x="44450" y="1517421"/>
                </a:moveTo>
                <a:lnTo>
                  <a:pt x="31750" y="1517421"/>
                </a:lnTo>
                <a:lnTo>
                  <a:pt x="31750" y="1555521"/>
                </a:lnTo>
                <a:lnTo>
                  <a:pt x="44450" y="1555521"/>
                </a:lnTo>
                <a:lnTo>
                  <a:pt x="44450" y="1517421"/>
                </a:lnTo>
                <a:close/>
              </a:path>
              <a:path w="560070" h="3326129">
                <a:moveTo>
                  <a:pt x="44450" y="1466621"/>
                </a:moveTo>
                <a:lnTo>
                  <a:pt x="31750" y="1466621"/>
                </a:lnTo>
                <a:lnTo>
                  <a:pt x="31750" y="1504721"/>
                </a:lnTo>
                <a:lnTo>
                  <a:pt x="44450" y="1504721"/>
                </a:lnTo>
                <a:lnTo>
                  <a:pt x="44450" y="1466621"/>
                </a:lnTo>
                <a:close/>
              </a:path>
              <a:path w="560070" h="3326129">
                <a:moveTo>
                  <a:pt x="44450" y="1415821"/>
                </a:moveTo>
                <a:lnTo>
                  <a:pt x="31750" y="1415821"/>
                </a:lnTo>
                <a:lnTo>
                  <a:pt x="31750" y="1453921"/>
                </a:lnTo>
                <a:lnTo>
                  <a:pt x="44450" y="1453921"/>
                </a:lnTo>
                <a:lnTo>
                  <a:pt x="44450" y="1415821"/>
                </a:lnTo>
                <a:close/>
              </a:path>
              <a:path w="560070" h="3326129">
                <a:moveTo>
                  <a:pt x="44450" y="1365021"/>
                </a:moveTo>
                <a:lnTo>
                  <a:pt x="31750" y="1365021"/>
                </a:lnTo>
                <a:lnTo>
                  <a:pt x="31750" y="1403121"/>
                </a:lnTo>
                <a:lnTo>
                  <a:pt x="44450" y="1403121"/>
                </a:lnTo>
                <a:lnTo>
                  <a:pt x="44450" y="1365021"/>
                </a:lnTo>
                <a:close/>
              </a:path>
              <a:path w="560070" h="3326129">
                <a:moveTo>
                  <a:pt x="44450" y="1314221"/>
                </a:moveTo>
                <a:lnTo>
                  <a:pt x="31750" y="1314221"/>
                </a:lnTo>
                <a:lnTo>
                  <a:pt x="31750" y="1352321"/>
                </a:lnTo>
                <a:lnTo>
                  <a:pt x="44450" y="1352321"/>
                </a:lnTo>
                <a:lnTo>
                  <a:pt x="44450" y="1314221"/>
                </a:lnTo>
                <a:close/>
              </a:path>
              <a:path w="560070" h="3326129">
                <a:moveTo>
                  <a:pt x="44450" y="1263421"/>
                </a:moveTo>
                <a:lnTo>
                  <a:pt x="31750" y="1263421"/>
                </a:lnTo>
                <a:lnTo>
                  <a:pt x="31750" y="1301521"/>
                </a:lnTo>
                <a:lnTo>
                  <a:pt x="44450" y="1301521"/>
                </a:lnTo>
                <a:lnTo>
                  <a:pt x="44450" y="1263421"/>
                </a:lnTo>
                <a:close/>
              </a:path>
              <a:path w="560070" h="3326129">
                <a:moveTo>
                  <a:pt x="44450" y="1212621"/>
                </a:moveTo>
                <a:lnTo>
                  <a:pt x="31750" y="1212621"/>
                </a:lnTo>
                <a:lnTo>
                  <a:pt x="31750" y="1250721"/>
                </a:lnTo>
                <a:lnTo>
                  <a:pt x="44450" y="1250721"/>
                </a:lnTo>
                <a:lnTo>
                  <a:pt x="44450" y="1212621"/>
                </a:lnTo>
                <a:close/>
              </a:path>
              <a:path w="560070" h="3326129">
                <a:moveTo>
                  <a:pt x="44450" y="1161821"/>
                </a:moveTo>
                <a:lnTo>
                  <a:pt x="31750" y="1161821"/>
                </a:lnTo>
                <a:lnTo>
                  <a:pt x="31750" y="1199921"/>
                </a:lnTo>
                <a:lnTo>
                  <a:pt x="44450" y="1199921"/>
                </a:lnTo>
                <a:lnTo>
                  <a:pt x="44450" y="1161821"/>
                </a:lnTo>
                <a:close/>
              </a:path>
              <a:path w="560070" h="3326129">
                <a:moveTo>
                  <a:pt x="44450" y="1111021"/>
                </a:moveTo>
                <a:lnTo>
                  <a:pt x="31750" y="1111021"/>
                </a:lnTo>
                <a:lnTo>
                  <a:pt x="31750" y="1149121"/>
                </a:lnTo>
                <a:lnTo>
                  <a:pt x="44450" y="1149121"/>
                </a:lnTo>
                <a:lnTo>
                  <a:pt x="44450" y="1111021"/>
                </a:lnTo>
                <a:close/>
              </a:path>
              <a:path w="560070" h="3326129">
                <a:moveTo>
                  <a:pt x="44450" y="1060221"/>
                </a:moveTo>
                <a:lnTo>
                  <a:pt x="31750" y="1060221"/>
                </a:lnTo>
                <a:lnTo>
                  <a:pt x="31750" y="1098321"/>
                </a:lnTo>
                <a:lnTo>
                  <a:pt x="44450" y="1098321"/>
                </a:lnTo>
                <a:lnTo>
                  <a:pt x="44450" y="1060221"/>
                </a:lnTo>
                <a:close/>
              </a:path>
              <a:path w="560070" h="3326129">
                <a:moveTo>
                  <a:pt x="44450" y="1009421"/>
                </a:moveTo>
                <a:lnTo>
                  <a:pt x="31750" y="1009421"/>
                </a:lnTo>
                <a:lnTo>
                  <a:pt x="31750" y="1047521"/>
                </a:lnTo>
                <a:lnTo>
                  <a:pt x="44450" y="1047521"/>
                </a:lnTo>
                <a:lnTo>
                  <a:pt x="44450" y="1009421"/>
                </a:lnTo>
                <a:close/>
              </a:path>
              <a:path w="560070" h="3326129">
                <a:moveTo>
                  <a:pt x="44450" y="958621"/>
                </a:moveTo>
                <a:lnTo>
                  <a:pt x="31750" y="958621"/>
                </a:lnTo>
                <a:lnTo>
                  <a:pt x="31750" y="996721"/>
                </a:lnTo>
                <a:lnTo>
                  <a:pt x="44450" y="996721"/>
                </a:lnTo>
                <a:lnTo>
                  <a:pt x="44450" y="958621"/>
                </a:lnTo>
                <a:close/>
              </a:path>
              <a:path w="560070" h="3326129">
                <a:moveTo>
                  <a:pt x="44450" y="907821"/>
                </a:moveTo>
                <a:lnTo>
                  <a:pt x="31750" y="907821"/>
                </a:lnTo>
                <a:lnTo>
                  <a:pt x="31750" y="945921"/>
                </a:lnTo>
                <a:lnTo>
                  <a:pt x="44450" y="945921"/>
                </a:lnTo>
                <a:lnTo>
                  <a:pt x="44450" y="907821"/>
                </a:lnTo>
                <a:close/>
              </a:path>
              <a:path w="560070" h="3326129">
                <a:moveTo>
                  <a:pt x="44450" y="857021"/>
                </a:moveTo>
                <a:lnTo>
                  <a:pt x="31750" y="857021"/>
                </a:lnTo>
                <a:lnTo>
                  <a:pt x="31750" y="895121"/>
                </a:lnTo>
                <a:lnTo>
                  <a:pt x="44450" y="895121"/>
                </a:lnTo>
                <a:lnTo>
                  <a:pt x="44450" y="857021"/>
                </a:lnTo>
                <a:close/>
              </a:path>
              <a:path w="560070" h="3326129">
                <a:moveTo>
                  <a:pt x="44450" y="806221"/>
                </a:moveTo>
                <a:lnTo>
                  <a:pt x="31750" y="806221"/>
                </a:lnTo>
                <a:lnTo>
                  <a:pt x="31750" y="844321"/>
                </a:lnTo>
                <a:lnTo>
                  <a:pt x="44450" y="844321"/>
                </a:lnTo>
                <a:lnTo>
                  <a:pt x="44450" y="806221"/>
                </a:lnTo>
                <a:close/>
              </a:path>
              <a:path w="560070" h="3326129">
                <a:moveTo>
                  <a:pt x="44450" y="755421"/>
                </a:moveTo>
                <a:lnTo>
                  <a:pt x="31750" y="755421"/>
                </a:lnTo>
                <a:lnTo>
                  <a:pt x="31750" y="793521"/>
                </a:lnTo>
                <a:lnTo>
                  <a:pt x="44450" y="793521"/>
                </a:lnTo>
                <a:lnTo>
                  <a:pt x="44450" y="755421"/>
                </a:lnTo>
                <a:close/>
              </a:path>
              <a:path w="560070" h="3326129">
                <a:moveTo>
                  <a:pt x="44450" y="704621"/>
                </a:moveTo>
                <a:lnTo>
                  <a:pt x="31750" y="704621"/>
                </a:lnTo>
                <a:lnTo>
                  <a:pt x="31750" y="742721"/>
                </a:lnTo>
                <a:lnTo>
                  <a:pt x="44450" y="742721"/>
                </a:lnTo>
                <a:lnTo>
                  <a:pt x="44450" y="704621"/>
                </a:lnTo>
                <a:close/>
              </a:path>
              <a:path w="560070" h="3326129">
                <a:moveTo>
                  <a:pt x="44450" y="653821"/>
                </a:moveTo>
                <a:lnTo>
                  <a:pt x="31750" y="653821"/>
                </a:lnTo>
                <a:lnTo>
                  <a:pt x="31750" y="691921"/>
                </a:lnTo>
                <a:lnTo>
                  <a:pt x="44450" y="691921"/>
                </a:lnTo>
                <a:lnTo>
                  <a:pt x="44450" y="653821"/>
                </a:lnTo>
                <a:close/>
              </a:path>
              <a:path w="560070" h="3326129">
                <a:moveTo>
                  <a:pt x="44450" y="603021"/>
                </a:moveTo>
                <a:lnTo>
                  <a:pt x="31750" y="603021"/>
                </a:lnTo>
                <a:lnTo>
                  <a:pt x="31750" y="641121"/>
                </a:lnTo>
                <a:lnTo>
                  <a:pt x="44450" y="641121"/>
                </a:lnTo>
                <a:lnTo>
                  <a:pt x="44450" y="603021"/>
                </a:lnTo>
                <a:close/>
              </a:path>
              <a:path w="560070" h="3326129">
                <a:moveTo>
                  <a:pt x="44450" y="552221"/>
                </a:moveTo>
                <a:lnTo>
                  <a:pt x="31750" y="552221"/>
                </a:lnTo>
                <a:lnTo>
                  <a:pt x="31750" y="590321"/>
                </a:lnTo>
                <a:lnTo>
                  <a:pt x="44450" y="590321"/>
                </a:lnTo>
                <a:lnTo>
                  <a:pt x="44450" y="552221"/>
                </a:lnTo>
                <a:close/>
              </a:path>
              <a:path w="560070" h="3326129">
                <a:moveTo>
                  <a:pt x="44450" y="501421"/>
                </a:moveTo>
                <a:lnTo>
                  <a:pt x="31750" y="501421"/>
                </a:lnTo>
                <a:lnTo>
                  <a:pt x="31750" y="539521"/>
                </a:lnTo>
                <a:lnTo>
                  <a:pt x="44450" y="539521"/>
                </a:lnTo>
                <a:lnTo>
                  <a:pt x="44450" y="501421"/>
                </a:lnTo>
                <a:close/>
              </a:path>
              <a:path w="560070" h="3326129">
                <a:moveTo>
                  <a:pt x="44450" y="450621"/>
                </a:moveTo>
                <a:lnTo>
                  <a:pt x="31750" y="450621"/>
                </a:lnTo>
                <a:lnTo>
                  <a:pt x="31750" y="488721"/>
                </a:lnTo>
                <a:lnTo>
                  <a:pt x="44450" y="488721"/>
                </a:lnTo>
                <a:lnTo>
                  <a:pt x="44450" y="450621"/>
                </a:lnTo>
                <a:close/>
              </a:path>
              <a:path w="560070" h="3326129">
                <a:moveTo>
                  <a:pt x="44450" y="399821"/>
                </a:moveTo>
                <a:lnTo>
                  <a:pt x="31750" y="399821"/>
                </a:lnTo>
                <a:lnTo>
                  <a:pt x="31750" y="437921"/>
                </a:lnTo>
                <a:lnTo>
                  <a:pt x="44450" y="437921"/>
                </a:lnTo>
                <a:lnTo>
                  <a:pt x="44450" y="399821"/>
                </a:lnTo>
                <a:close/>
              </a:path>
              <a:path w="560070" h="3326129">
                <a:moveTo>
                  <a:pt x="44450" y="349021"/>
                </a:moveTo>
                <a:lnTo>
                  <a:pt x="31750" y="349021"/>
                </a:lnTo>
                <a:lnTo>
                  <a:pt x="31750" y="387121"/>
                </a:lnTo>
                <a:lnTo>
                  <a:pt x="44450" y="387121"/>
                </a:lnTo>
                <a:lnTo>
                  <a:pt x="44450" y="349021"/>
                </a:lnTo>
                <a:close/>
              </a:path>
              <a:path w="560070" h="3326129">
                <a:moveTo>
                  <a:pt x="44450" y="298221"/>
                </a:moveTo>
                <a:lnTo>
                  <a:pt x="31750" y="298221"/>
                </a:lnTo>
                <a:lnTo>
                  <a:pt x="31750" y="336321"/>
                </a:lnTo>
                <a:lnTo>
                  <a:pt x="44450" y="336321"/>
                </a:lnTo>
                <a:lnTo>
                  <a:pt x="44450" y="298221"/>
                </a:lnTo>
                <a:close/>
              </a:path>
              <a:path w="560070" h="3326129">
                <a:moveTo>
                  <a:pt x="44450" y="247421"/>
                </a:moveTo>
                <a:lnTo>
                  <a:pt x="31750" y="247421"/>
                </a:lnTo>
                <a:lnTo>
                  <a:pt x="31750" y="285521"/>
                </a:lnTo>
                <a:lnTo>
                  <a:pt x="44450" y="285521"/>
                </a:lnTo>
                <a:lnTo>
                  <a:pt x="44450" y="247421"/>
                </a:lnTo>
                <a:close/>
              </a:path>
              <a:path w="560070" h="3326129">
                <a:moveTo>
                  <a:pt x="44450" y="196621"/>
                </a:moveTo>
                <a:lnTo>
                  <a:pt x="31750" y="196621"/>
                </a:lnTo>
                <a:lnTo>
                  <a:pt x="31750" y="234721"/>
                </a:lnTo>
                <a:lnTo>
                  <a:pt x="44450" y="234721"/>
                </a:lnTo>
                <a:lnTo>
                  <a:pt x="44450" y="196621"/>
                </a:lnTo>
                <a:close/>
              </a:path>
              <a:path w="560070" h="3326129">
                <a:moveTo>
                  <a:pt x="44450" y="145821"/>
                </a:moveTo>
                <a:lnTo>
                  <a:pt x="31750" y="145821"/>
                </a:lnTo>
                <a:lnTo>
                  <a:pt x="31750" y="183921"/>
                </a:lnTo>
                <a:lnTo>
                  <a:pt x="44450" y="183921"/>
                </a:lnTo>
                <a:lnTo>
                  <a:pt x="44450" y="145821"/>
                </a:lnTo>
                <a:close/>
              </a:path>
              <a:path w="560070" h="3326129">
                <a:moveTo>
                  <a:pt x="44450" y="95021"/>
                </a:moveTo>
                <a:lnTo>
                  <a:pt x="31750" y="95021"/>
                </a:lnTo>
                <a:lnTo>
                  <a:pt x="31750" y="133121"/>
                </a:lnTo>
                <a:lnTo>
                  <a:pt x="44450" y="133121"/>
                </a:lnTo>
                <a:lnTo>
                  <a:pt x="44450" y="95021"/>
                </a:lnTo>
                <a:close/>
              </a:path>
              <a:path w="560070" h="3326129">
                <a:moveTo>
                  <a:pt x="44450" y="63500"/>
                </a:moveTo>
                <a:lnTo>
                  <a:pt x="31750" y="63500"/>
                </a:lnTo>
                <a:lnTo>
                  <a:pt x="31750" y="82321"/>
                </a:lnTo>
                <a:lnTo>
                  <a:pt x="44450" y="82321"/>
                </a:lnTo>
                <a:lnTo>
                  <a:pt x="44450" y="63500"/>
                </a:lnTo>
                <a:close/>
              </a:path>
              <a:path w="560070" h="3326129">
                <a:moveTo>
                  <a:pt x="38100" y="0"/>
                </a:moveTo>
                <a:lnTo>
                  <a:pt x="0" y="76200"/>
                </a:lnTo>
                <a:lnTo>
                  <a:pt x="31750" y="76200"/>
                </a:lnTo>
                <a:lnTo>
                  <a:pt x="31750" y="63500"/>
                </a:lnTo>
                <a:lnTo>
                  <a:pt x="69850" y="63500"/>
                </a:lnTo>
                <a:lnTo>
                  <a:pt x="38100" y="0"/>
                </a:lnTo>
                <a:close/>
              </a:path>
              <a:path w="560070" h="3326129">
                <a:moveTo>
                  <a:pt x="69850" y="63500"/>
                </a:moveTo>
                <a:lnTo>
                  <a:pt x="44450" y="63500"/>
                </a:lnTo>
                <a:lnTo>
                  <a:pt x="44450" y="76200"/>
                </a:lnTo>
                <a:lnTo>
                  <a:pt x="76200" y="76200"/>
                </a:lnTo>
                <a:lnTo>
                  <a:pt x="69850" y="63500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715042" y="2086241"/>
            <a:ext cx="731520" cy="3316604"/>
          </a:xfrm>
          <a:custGeom>
            <a:avLst/>
            <a:gdLst/>
            <a:ahLst/>
            <a:cxnLst/>
            <a:rect l="l" t="t" r="r" b="b"/>
            <a:pathLst>
              <a:path w="731520" h="3316604">
                <a:moveTo>
                  <a:pt x="12700" y="3277920"/>
                </a:moveTo>
                <a:lnTo>
                  <a:pt x="0" y="3277920"/>
                </a:lnTo>
                <a:lnTo>
                  <a:pt x="0" y="3316020"/>
                </a:lnTo>
                <a:lnTo>
                  <a:pt x="12700" y="3316020"/>
                </a:lnTo>
                <a:lnTo>
                  <a:pt x="12700" y="3277920"/>
                </a:lnTo>
                <a:close/>
              </a:path>
              <a:path w="731520" h="3316604">
                <a:moveTo>
                  <a:pt x="12700" y="3227120"/>
                </a:moveTo>
                <a:lnTo>
                  <a:pt x="0" y="3227120"/>
                </a:lnTo>
                <a:lnTo>
                  <a:pt x="0" y="3265220"/>
                </a:lnTo>
                <a:lnTo>
                  <a:pt x="12700" y="3265220"/>
                </a:lnTo>
                <a:lnTo>
                  <a:pt x="12700" y="3227120"/>
                </a:lnTo>
                <a:close/>
              </a:path>
              <a:path w="731520" h="3316604">
                <a:moveTo>
                  <a:pt x="12700" y="3176320"/>
                </a:moveTo>
                <a:lnTo>
                  <a:pt x="0" y="3176320"/>
                </a:lnTo>
                <a:lnTo>
                  <a:pt x="0" y="3214420"/>
                </a:lnTo>
                <a:lnTo>
                  <a:pt x="12700" y="3214420"/>
                </a:lnTo>
                <a:lnTo>
                  <a:pt x="12700" y="3176320"/>
                </a:lnTo>
                <a:close/>
              </a:path>
              <a:path w="731520" h="3316604">
                <a:moveTo>
                  <a:pt x="12700" y="3125520"/>
                </a:moveTo>
                <a:lnTo>
                  <a:pt x="0" y="3125520"/>
                </a:lnTo>
                <a:lnTo>
                  <a:pt x="0" y="3163620"/>
                </a:lnTo>
                <a:lnTo>
                  <a:pt x="12700" y="3163620"/>
                </a:lnTo>
                <a:lnTo>
                  <a:pt x="12700" y="3125520"/>
                </a:lnTo>
                <a:close/>
              </a:path>
              <a:path w="731520" h="3316604">
                <a:moveTo>
                  <a:pt x="12700" y="3074720"/>
                </a:moveTo>
                <a:lnTo>
                  <a:pt x="0" y="3074720"/>
                </a:lnTo>
                <a:lnTo>
                  <a:pt x="0" y="3112820"/>
                </a:lnTo>
                <a:lnTo>
                  <a:pt x="12700" y="3112820"/>
                </a:lnTo>
                <a:lnTo>
                  <a:pt x="12700" y="3074720"/>
                </a:lnTo>
                <a:close/>
              </a:path>
              <a:path w="731520" h="3316604">
                <a:moveTo>
                  <a:pt x="12700" y="3023920"/>
                </a:moveTo>
                <a:lnTo>
                  <a:pt x="0" y="3023920"/>
                </a:lnTo>
                <a:lnTo>
                  <a:pt x="0" y="3062020"/>
                </a:lnTo>
                <a:lnTo>
                  <a:pt x="12700" y="3062020"/>
                </a:lnTo>
                <a:lnTo>
                  <a:pt x="12700" y="3023920"/>
                </a:lnTo>
                <a:close/>
              </a:path>
              <a:path w="731520" h="3316604">
                <a:moveTo>
                  <a:pt x="12700" y="2973120"/>
                </a:moveTo>
                <a:lnTo>
                  <a:pt x="0" y="2973120"/>
                </a:lnTo>
                <a:lnTo>
                  <a:pt x="0" y="3011220"/>
                </a:lnTo>
                <a:lnTo>
                  <a:pt x="12700" y="3011220"/>
                </a:lnTo>
                <a:lnTo>
                  <a:pt x="12700" y="2973120"/>
                </a:lnTo>
                <a:close/>
              </a:path>
              <a:path w="731520" h="3316604">
                <a:moveTo>
                  <a:pt x="12700" y="2922320"/>
                </a:moveTo>
                <a:lnTo>
                  <a:pt x="0" y="2922320"/>
                </a:lnTo>
                <a:lnTo>
                  <a:pt x="0" y="2960420"/>
                </a:lnTo>
                <a:lnTo>
                  <a:pt x="12700" y="2960420"/>
                </a:lnTo>
                <a:lnTo>
                  <a:pt x="12700" y="2922320"/>
                </a:lnTo>
                <a:close/>
              </a:path>
              <a:path w="731520" h="3316604">
                <a:moveTo>
                  <a:pt x="12700" y="2871520"/>
                </a:moveTo>
                <a:lnTo>
                  <a:pt x="0" y="2871520"/>
                </a:lnTo>
                <a:lnTo>
                  <a:pt x="0" y="2909620"/>
                </a:lnTo>
                <a:lnTo>
                  <a:pt x="12700" y="2909620"/>
                </a:lnTo>
                <a:lnTo>
                  <a:pt x="12700" y="2871520"/>
                </a:lnTo>
                <a:close/>
              </a:path>
              <a:path w="731520" h="3316604">
                <a:moveTo>
                  <a:pt x="12700" y="2820720"/>
                </a:moveTo>
                <a:lnTo>
                  <a:pt x="0" y="2820720"/>
                </a:lnTo>
                <a:lnTo>
                  <a:pt x="0" y="2858820"/>
                </a:lnTo>
                <a:lnTo>
                  <a:pt x="12700" y="2858820"/>
                </a:lnTo>
                <a:lnTo>
                  <a:pt x="12700" y="2820720"/>
                </a:lnTo>
                <a:close/>
              </a:path>
              <a:path w="731520" h="3316604">
                <a:moveTo>
                  <a:pt x="12700" y="2769920"/>
                </a:moveTo>
                <a:lnTo>
                  <a:pt x="0" y="2769920"/>
                </a:lnTo>
                <a:lnTo>
                  <a:pt x="0" y="2808020"/>
                </a:lnTo>
                <a:lnTo>
                  <a:pt x="12700" y="2808020"/>
                </a:lnTo>
                <a:lnTo>
                  <a:pt x="12700" y="2769920"/>
                </a:lnTo>
                <a:close/>
              </a:path>
              <a:path w="731520" h="3316604">
                <a:moveTo>
                  <a:pt x="12700" y="2719120"/>
                </a:moveTo>
                <a:lnTo>
                  <a:pt x="0" y="2719120"/>
                </a:lnTo>
                <a:lnTo>
                  <a:pt x="0" y="2757220"/>
                </a:lnTo>
                <a:lnTo>
                  <a:pt x="12700" y="2757220"/>
                </a:lnTo>
                <a:lnTo>
                  <a:pt x="12700" y="2719120"/>
                </a:lnTo>
                <a:close/>
              </a:path>
              <a:path w="731520" h="3316604">
                <a:moveTo>
                  <a:pt x="12700" y="2668320"/>
                </a:moveTo>
                <a:lnTo>
                  <a:pt x="0" y="2668320"/>
                </a:lnTo>
                <a:lnTo>
                  <a:pt x="0" y="2706420"/>
                </a:lnTo>
                <a:lnTo>
                  <a:pt x="12700" y="2706420"/>
                </a:lnTo>
                <a:lnTo>
                  <a:pt x="12700" y="2668320"/>
                </a:lnTo>
                <a:close/>
              </a:path>
              <a:path w="731520" h="3316604">
                <a:moveTo>
                  <a:pt x="12700" y="2617520"/>
                </a:moveTo>
                <a:lnTo>
                  <a:pt x="0" y="2617520"/>
                </a:lnTo>
                <a:lnTo>
                  <a:pt x="0" y="2655620"/>
                </a:lnTo>
                <a:lnTo>
                  <a:pt x="12700" y="2655620"/>
                </a:lnTo>
                <a:lnTo>
                  <a:pt x="12700" y="2617520"/>
                </a:lnTo>
                <a:close/>
              </a:path>
              <a:path w="731520" h="3316604">
                <a:moveTo>
                  <a:pt x="12700" y="2566720"/>
                </a:moveTo>
                <a:lnTo>
                  <a:pt x="0" y="2566720"/>
                </a:lnTo>
                <a:lnTo>
                  <a:pt x="0" y="2604820"/>
                </a:lnTo>
                <a:lnTo>
                  <a:pt x="12700" y="2604820"/>
                </a:lnTo>
                <a:lnTo>
                  <a:pt x="12700" y="2566720"/>
                </a:lnTo>
                <a:close/>
              </a:path>
              <a:path w="731520" h="3316604">
                <a:moveTo>
                  <a:pt x="12700" y="2515920"/>
                </a:moveTo>
                <a:lnTo>
                  <a:pt x="0" y="2515920"/>
                </a:lnTo>
                <a:lnTo>
                  <a:pt x="0" y="2554020"/>
                </a:lnTo>
                <a:lnTo>
                  <a:pt x="12700" y="2554020"/>
                </a:lnTo>
                <a:lnTo>
                  <a:pt x="12700" y="2515920"/>
                </a:lnTo>
                <a:close/>
              </a:path>
              <a:path w="731520" h="3316604">
                <a:moveTo>
                  <a:pt x="12700" y="2465120"/>
                </a:moveTo>
                <a:lnTo>
                  <a:pt x="0" y="2465120"/>
                </a:lnTo>
                <a:lnTo>
                  <a:pt x="0" y="2503220"/>
                </a:lnTo>
                <a:lnTo>
                  <a:pt x="12700" y="2503220"/>
                </a:lnTo>
                <a:lnTo>
                  <a:pt x="12700" y="2465120"/>
                </a:lnTo>
                <a:close/>
              </a:path>
              <a:path w="731520" h="3316604">
                <a:moveTo>
                  <a:pt x="12700" y="2414320"/>
                </a:moveTo>
                <a:lnTo>
                  <a:pt x="0" y="2414320"/>
                </a:lnTo>
                <a:lnTo>
                  <a:pt x="0" y="2452420"/>
                </a:lnTo>
                <a:lnTo>
                  <a:pt x="12700" y="2452420"/>
                </a:lnTo>
                <a:lnTo>
                  <a:pt x="12700" y="2414320"/>
                </a:lnTo>
                <a:close/>
              </a:path>
              <a:path w="731520" h="3316604">
                <a:moveTo>
                  <a:pt x="12700" y="2363520"/>
                </a:moveTo>
                <a:lnTo>
                  <a:pt x="0" y="2363520"/>
                </a:lnTo>
                <a:lnTo>
                  <a:pt x="0" y="2401620"/>
                </a:lnTo>
                <a:lnTo>
                  <a:pt x="12700" y="2401620"/>
                </a:lnTo>
                <a:lnTo>
                  <a:pt x="12700" y="2363520"/>
                </a:lnTo>
                <a:close/>
              </a:path>
              <a:path w="731520" h="3316604">
                <a:moveTo>
                  <a:pt x="12700" y="2312720"/>
                </a:moveTo>
                <a:lnTo>
                  <a:pt x="0" y="2312720"/>
                </a:lnTo>
                <a:lnTo>
                  <a:pt x="0" y="2350820"/>
                </a:lnTo>
                <a:lnTo>
                  <a:pt x="12700" y="2350820"/>
                </a:lnTo>
                <a:lnTo>
                  <a:pt x="12700" y="2312720"/>
                </a:lnTo>
                <a:close/>
              </a:path>
              <a:path w="731520" h="3316604">
                <a:moveTo>
                  <a:pt x="12700" y="2261920"/>
                </a:moveTo>
                <a:lnTo>
                  <a:pt x="0" y="2261920"/>
                </a:lnTo>
                <a:lnTo>
                  <a:pt x="0" y="2300020"/>
                </a:lnTo>
                <a:lnTo>
                  <a:pt x="12700" y="2300020"/>
                </a:lnTo>
                <a:lnTo>
                  <a:pt x="12700" y="2261920"/>
                </a:lnTo>
                <a:close/>
              </a:path>
              <a:path w="731520" h="3316604">
                <a:moveTo>
                  <a:pt x="12700" y="2211120"/>
                </a:moveTo>
                <a:lnTo>
                  <a:pt x="0" y="2211120"/>
                </a:lnTo>
                <a:lnTo>
                  <a:pt x="0" y="2249220"/>
                </a:lnTo>
                <a:lnTo>
                  <a:pt x="12700" y="2249220"/>
                </a:lnTo>
                <a:lnTo>
                  <a:pt x="12700" y="2211120"/>
                </a:lnTo>
                <a:close/>
              </a:path>
              <a:path w="731520" h="3316604">
                <a:moveTo>
                  <a:pt x="12700" y="2160320"/>
                </a:moveTo>
                <a:lnTo>
                  <a:pt x="0" y="2160320"/>
                </a:lnTo>
                <a:lnTo>
                  <a:pt x="0" y="2198420"/>
                </a:lnTo>
                <a:lnTo>
                  <a:pt x="12700" y="2198420"/>
                </a:lnTo>
                <a:lnTo>
                  <a:pt x="12700" y="2160320"/>
                </a:lnTo>
                <a:close/>
              </a:path>
              <a:path w="731520" h="3316604">
                <a:moveTo>
                  <a:pt x="12700" y="2109520"/>
                </a:moveTo>
                <a:lnTo>
                  <a:pt x="0" y="2109520"/>
                </a:lnTo>
                <a:lnTo>
                  <a:pt x="0" y="2147620"/>
                </a:lnTo>
                <a:lnTo>
                  <a:pt x="12700" y="2147620"/>
                </a:lnTo>
                <a:lnTo>
                  <a:pt x="12700" y="2109520"/>
                </a:lnTo>
                <a:close/>
              </a:path>
              <a:path w="731520" h="3316604">
                <a:moveTo>
                  <a:pt x="12700" y="2058720"/>
                </a:moveTo>
                <a:lnTo>
                  <a:pt x="0" y="2058720"/>
                </a:lnTo>
                <a:lnTo>
                  <a:pt x="0" y="2096820"/>
                </a:lnTo>
                <a:lnTo>
                  <a:pt x="12700" y="2096820"/>
                </a:lnTo>
                <a:lnTo>
                  <a:pt x="12700" y="2058720"/>
                </a:lnTo>
                <a:close/>
              </a:path>
              <a:path w="731520" h="3316604">
                <a:moveTo>
                  <a:pt x="12700" y="2007920"/>
                </a:moveTo>
                <a:lnTo>
                  <a:pt x="0" y="2007920"/>
                </a:lnTo>
                <a:lnTo>
                  <a:pt x="0" y="2046020"/>
                </a:lnTo>
                <a:lnTo>
                  <a:pt x="12700" y="2046020"/>
                </a:lnTo>
                <a:lnTo>
                  <a:pt x="12700" y="2007920"/>
                </a:lnTo>
                <a:close/>
              </a:path>
              <a:path w="731520" h="3316604">
                <a:moveTo>
                  <a:pt x="12700" y="1957120"/>
                </a:moveTo>
                <a:lnTo>
                  <a:pt x="0" y="1957120"/>
                </a:lnTo>
                <a:lnTo>
                  <a:pt x="0" y="1995220"/>
                </a:lnTo>
                <a:lnTo>
                  <a:pt x="12700" y="1995220"/>
                </a:lnTo>
                <a:lnTo>
                  <a:pt x="12700" y="1957120"/>
                </a:lnTo>
                <a:close/>
              </a:path>
              <a:path w="731520" h="3316604">
                <a:moveTo>
                  <a:pt x="12700" y="1906320"/>
                </a:moveTo>
                <a:lnTo>
                  <a:pt x="0" y="1906320"/>
                </a:lnTo>
                <a:lnTo>
                  <a:pt x="0" y="1944420"/>
                </a:lnTo>
                <a:lnTo>
                  <a:pt x="12700" y="1944420"/>
                </a:lnTo>
                <a:lnTo>
                  <a:pt x="12700" y="1906320"/>
                </a:lnTo>
                <a:close/>
              </a:path>
              <a:path w="731520" h="3316604">
                <a:moveTo>
                  <a:pt x="12700" y="1855520"/>
                </a:moveTo>
                <a:lnTo>
                  <a:pt x="0" y="1855520"/>
                </a:lnTo>
                <a:lnTo>
                  <a:pt x="0" y="1893620"/>
                </a:lnTo>
                <a:lnTo>
                  <a:pt x="12700" y="1893620"/>
                </a:lnTo>
                <a:lnTo>
                  <a:pt x="12700" y="1855520"/>
                </a:lnTo>
                <a:close/>
              </a:path>
              <a:path w="731520" h="3316604">
                <a:moveTo>
                  <a:pt x="12700" y="1804720"/>
                </a:moveTo>
                <a:lnTo>
                  <a:pt x="0" y="1804720"/>
                </a:lnTo>
                <a:lnTo>
                  <a:pt x="0" y="1842820"/>
                </a:lnTo>
                <a:lnTo>
                  <a:pt x="12700" y="1842820"/>
                </a:lnTo>
                <a:lnTo>
                  <a:pt x="12700" y="1804720"/>
                </a:lnTo>
                <a:close/>
              </a:path>
              <a:path w="731520" h="3316604">
                <a:moveTo>
                  <a:pt x="12700" y="1753920"/>
                </a:moveTo>
                <a:lnTo>
                  <a:pt x="0" y="1753920"/>
                </a:lnTo>
                <a:lnTo>
                  <a:pt x="0" y="1792020"/>
                </a:lnTo>
                <a:lnTo>
                  <a:pt x="12700" y="1792020"/>
                </a:lnTo>
                <a:lnTo>
                  <a:pt x="12700" y="1753920"/>
                </a:lnTo>
                <a:close/>
              </a:path>
              <a:path w="731520" h="3316604">
                <a:moveTo>
                  <a:pt x="12700" y="1703120"/>
                </a:moveTo>
                <a:lnTo>
                  <a:pt x="0" y="1703120"/>
                </a:lnTo>
                <a:lnTo>
                  <a:pt x="0" y="1741220"/>
                </a:lnTo>
                <a:lnTo>
                  <a:pt x="12700" y="1741220"/>
                </a:lnTo>
                <a:lnTo>
                  <a:pt x="12700" y="1703120"/>
                </a:lnTo>
                <a:close/>
              </a:path>
              <a:path w="731520" h="3316604">
                <a:moveTo>
                  <a:pt x="12039" y="1651660"/>
                </a:moveTo>
                <a:lnTo>
                  <a:pt x="2844" y="1651660"/>
                </a:lnTo>
                <a:lnTo>
                  <a:pt x="0" y="1654505"/>
                </a:lnTo>
                <a:lnTo>
                  <a:pt x="0" y="1690420"/>
                </a:lnTo>
                <a:lnTo>
                  <a:pt x="12700" y="1690420"/>
                </a:lnTo>
                <a:lnTo>
                  <a:pt x="12700" y="1664360"/>
                </a:lnTo>
                <a:lnTo>
                  <a:pt x="6350" y="1664360"/>
                </a:lnTo>
                <a:lnTo>
                  <a:pt x="12039" y="1658670"/>
                </a:lnTo>
                <a:lnTo>
                  <a:pt x="12039" y="1651660"/>
                </a:lnTo>
                <a:close/>
              </a:path>
              <a:path w="731520" h="3316604">
                <a:moveTo>
                  <a:pt x="12039" y="1658670"/>
                </a:moveTo>
                <a:lnTo>
                  <a:pt x="6350" y="1664360"/>
                </a:lnTo>
                <a:lnTo>
                  <a:pt x="12039" y="1664360"/>
                </a:lnTo>
                <a:lnTo>
                  <a:pt x="12039" y="1658670"/>
                </a:lnTo>
                <a:close/>
              </a:path>
              <a:path w="731520" h="3316604">
                <a:moveTo>
                  <a:pt x="12700" y="1658010"/>
                </a:moveTo>
                <a:lnTo>
                  <a:pt x="12039" y="1658670"/>
                </a:lnTo>
                <a:lnTo>
                  <a:pt x="12039" y="1664360"/>
                </a:lnTo>
                <a:lnTo>
                  <a:pt x="12700" y="1664360"/>
                </a:lnTo>
                <a:lnTo>
                  <a:pt x="12700" y="1658010"/>
                </a:lnTo>
                <a:close/>
              </a:path>
              <a:path w="731520" h="3316604">
                <a:moveTo>
                  <a:pt x="62839" y="1651660"/>
                </a:moveTo>
                <a:lnTo>
                  <a:pt x="24739" y="1651660"/>
                </a:lnTo>
                <a:lnTo>
                  <a:pt x="24739" y="1664360"/>
                </a:lnTo>
                <a:lnTo>
                  <a:pt x="62839" y="1664360"/>
                </a:lnTo>
                <a:lnTo>
                  <a:pt x="62839" y="1651660"/>
                </a:lnTo>
                <a:close/>
              </a:path>
              <a:path w="731520" h="3316604">
                <a:moveTo>
                  <a:pt x="113639" y="1651660"/>
                </a:moveTo>
                <a:lnTo>
                  <a:pt x="75539" y="1651660"/>
                </a:lnTo>
                <a:lnTo>
                  <a:pt x="75539" y="1664360"/>
                </a:lnTo>
                <a:lnTo>
                  <a:pt x="113639" y="1664360"/>
                </a:lnTo>
                <a:lnTo>
                  <a:pt x="113639" y="1651660"/>
                </a:lnTo>
                <a:close/>
              </a:path>
              <a:path w="731520" h="3316604">
                <a:moveTo>
                  <a:pt x="164439" y="1651660"/>
                </a:moveTo>
                <a:lnTo>
                  <a:pt x="126339" y="1651660"/>
                </a:lnTo>
                <a:lnTo>
                  <a:pt x="126339" y="1664360"/>
                </a:lnTo>
                <a:lnTo>
                  <a:pt x="164439" y="1664360"/>
                </a:lnTo>
                <a:lnTo>
                  <a:pt x="164439" y="1651660"/>
                </a:lnTo>
                <a:close/>
              </a:path>
              <a:path w="731520" h="3316604">
                <a:moveTo>
                  <a:pt x="215239" y="1651660"/>
                </a:moveTo>
                <a:lnTo>
                  <a:pt x="177139" y="1651660"/>
                </a:lnTo>
                <a:lnTo>
                  <a:pt x="177139" y="1664360"/>
                </a:lnTo>
                <a:lnTo>
                  <a:pt x="215239" y="1664360"/>
                </a:lnTo>
                <a:lnTo>
                  <a:pt x="215239" y="1651660"/>
                </a:lnTo>
                <a:close/>
              </a:path>
              <a:path w="731520" h="3316604">
                <a:moveTo>
                  <a:pt x="266039" y="1651660"/>
                </a:moveTo>
                <a:lnTo>
                  <a:pt x="227939" y="1651660"/>
                </a:lnTo>
                <a:lnTo>
                  <a:pt x="227939" y="1664360"/>
                </a:lnTo>
                <a:lnTo>
                  <a:pt x="266039" y="1664360"/>
                </a:lnTo>
                <a:lnTo>
                  <a:pt x="266039" y="1651660"/>
                </a:lnTo>
                <a:close/>
              </a:path>
              <a:path w="731520" h="3316604">
                <a:moveTo>
                  <a:pt x="316839" y="1651660"/>
                </a:moveTo>
                <a:lnTo>
                  <a:pt x="278739" y="1651660"/>
                </a:lnTo>
                <a:lnTo>
                  <a:pt x="278739" y="1664360"/>
                </a:lnTo>
                <a:lnTo>
                  <a:pt x="316839" y="1664360"/>
                </a:lnTo>
                <a:lnTo>
                  <a:pt x="316839" y="1651660"/>
                </a:lnTo>
                <a:close/>
              </a:path>
              <a:path w="731520" h="3316604">
                <a:moveTo>
                  <a:pt x="367639" y="1651660"/>
                </a:moveTo>
                <a:lnTo>
                  <a:pt x="329539" y="1651660"/>
                </a:lnTo>
                <a:lnTo>
                  <a:pt x="329539" y="1664360"/>
                </a:lnTo>
                <a:lnTo>
                  <a:pt x="367639" y="1664360"/>
                </a:lnTo>
                <a:lnTo>
                  <a:pt x="367639" y="1651660"/>
                </a:lnTo>
                <a:close/>
              </a:path>
              <a:path w="731520" h="3316604">
                <a:moveTo>
                  <a:pt x="418439" y="1651660"/>
                </a:moveTo>
                <a:lnTo>
                  <a:pt x="380339" y="1651660"/>
                </a:lnTo>
                <a:lnTo>
                  <a:pt x="380339" y="1664360"/>
                </a:lnTo>
                <a:lnTo>
                  <a:pt x="418439" y="1664360"/>
                </a:lnTo>
                <a:lnTo>
                  <a:pt x="418439" y="1651660"/>
                </a:lnTo>
                <a:close/>
              </a:path>
              <a:path w="731520" h="3316604">
                <a:moveTo>
                  <a:pt x="469239" y="1651660"/>
                </a:moveTo>
                <a:lnTo>
                  <a:pt x="431139" y="1651660"/>
                </a:lnTo>
                <a:lnTo>
                  <a:pt x="431139" y="1664360"/>
                </a:lnTo>
                <a:lnTo>
                  <a:pt x="469239" y="1664360"/>
                </a:lnTo>
                <a:lnTo>
                  <a:pt x="469239" y="1651660"/>
                </a:lnTo>
                <a:close/>
              </a:path>
              <a:path w="731520" h="3316604">
                <a:moveTo>
                  <a:pt x="520039" y="1651660"/>
                </a:moveTo>
                <a:lnTo>
                  <a:pt x="481939" y="1651660"/>
                </a:lnTo>
                <a:lnTo>
                  <a:pt x="481939" y="1664360"/>
                </a:lnTo>
                <a:lnTo>
                  <a:pt x="520039" y="1664360"/>
                </a:lnTo>
                <a:lnTo>
                  <a:pt x="520039" y="1651660"/>
                </a:lnTo>
                <a:close/>
              </a:path>
              <a:path w="731520" h="3316604">
                <a:moveTo>
                  <a:pt x="570839" y="1651660"/>
                </a:moveTo>
                <a:lnTo>
                  <a:pt x="532739" y="1651660"/>
                </a:lnTo>
                <a:lnTo>
                  <a:pt x="532739" y="1664360"/>
                </a:lnTo>
                <a:lnTo>
                  <a:pt x="570839" y="1664360"/>
                </a:lnTo>
                <a:lnTo>
                  <a:pt x="570839" y="1651660"/>
                </a:lnTo>
                <a:close/>
              </a:path>
              <a:path w="731520" h="3316604">
                <a:moveTo>
                  <a:pt x="621639" y="1651660"/>
                </a:moveTo>
                <a:lnTo>
                  <a:pt x="583539" y="1651660"/>
                </a:lnTo>
                <a:lnTo>
                  <a:pt x="583539" y="1664360"/>
                </a:lnTo>
                <a:lnTo>
                  <a:pt x="621639" y="1664360"/>
                </a:lnTo>
                <a:lnTo>
                  <a:pt x="621639" y="1651660"/>
                </a:lnTo>
                <a:close/>
              </a:path>
              <a:path w="731520" h="3316604">
                <a:moveTo>
                  <a:pt x="672439" y="1651660"/>
                </a:moveTo>
                <a:lnTo>
                  <a:pt x="634339" y="1651660"/>
                </a:lnTo>
                <a:lnTo>
                  <a:pt x="634339" y="1664360"/>
                </a:lnTo>
                <a:lnTo>
                  <a:pt x="672439" y="1664360"/>
                </a:lnTo>
                <a:lnTo>
                  <a:pt x="672439" y="1651660"/>
                </a:lnTo>
                <a:close/>
              </a:path>
              <a:path w="731520" h="3316604">
                <a:moveTo>
                  <a:pt x="686536" y="1651660"/>
                </a:moveTo>
                <a:lnTo>
                  <a:pt x="685139" y="1651660"/>
                </a:lnTo>
                <a:lnTo>
                  <a:pt x="685139" y="1664360"/>
                </a:lnTo>
                <a:lnTo>
                  <a:pt x="696391" y="1664360"/>
                </a:lnTo>
                <a:lnTo>
                  <a:pt x="699236" y="1661528"/>
                </a:lnTo>
                <a:lnTo>
                  <a:pt x="699236" y="1658010"/>
                </a:lnTo>
                <a:lnTo>
                  <a:pt x="686536" y="1658010"/>
                </a:lnTo>
                <a:lnTo>
                  <a:pt x="686536" y="1651660"/>
                </a:lnTo>
                <a:close/>
              </a:path>
              <a:path w="731520" h="3316604">
                <a:moveTo>
                  <a:pt x="699236" y="1627657"/>
                </a:moveTo>
                <a:lnTo>
                  <a:pt x="686536" y="1627657"/>
                </a:lnTo>
                <a:lnTo>
                  <a:pt x="686536" y="1658010"/>
                </a:lnTo>
                <a:lnTo>
                  <a:pt x="692886" y="1651660"/>
                </a:lnTo>
                <a:lnTo>
                  <a:pt x="699236" y="1651660"/>
                </a:lnTo>
                <a:lnTo>
                  <a:pt x="699236" y="1627657"/>
                </a:lnTo>
                <a:close/>
              </a:path>
              <a:path w="731520" h="3316604">
                <a:moveTo>
                  <a:pt x="699236" y="1651660"/>
                </a:moveTo>
                <a:lnTo>
                  <a:pt x="692886" y="1651660"/>
                </a:lnTo>
                <a:lnTo>
                  <a:pt x="686536" y="1658010"/>
                </a:lnTo>
                <a:lnTo>
                  <a:pt x="699236" y="1658010"/>
                </a:lnTo>
                <a:lnTo>
                  <a:pt x="699236" y="1651660"/>
                </a:lnTo>
                <a:close/>
              </a:path>
              <a:path w="731520" h="3316604">
                <a:moveTo>
                  <a:pt x="699236" y="1576857"/>
                </a:moveTo>
                <a:lnTo>
                  <a:pt x="686536" y="1576857"/>
                </a:lnTo>
                <a:lnTo>
                  <a:pt x="686536" y="1614957"/>
                </a:lnTo>
                <a:lnTo>
                  <a:pt x="699236" y="1614957"/>
                </a:lnTo>
                <a:lnTo>
                  <a:pt x="699236" y="1576857"/>
                </a:lnTo>
                <a:close/>
              </a:path>
              <a:path w="731520" h="3316604">
                <a:moveTo>
                  <a:pt x="699236" y="1526057"/>
                </a:moveTo>
                <a:lnTo>
                  <a:pt x="686536" y="1526057"/>
                </a:lnTo>
                <a:lnTo>
                  <a:pt x="686536" y="1564157"/>
                </a:lnTo>
                <a:lnTo>
                  <a:pt x="699236" y="1564157"/>
                </a:lnTo>
                <a:lnTo>
                  <a:pt x="699236" y="1526057"/>
                </a:lnTo>
                <a:close/>
              </a:path>
              <a:path w="731520" h="3316604">
                <a:moveTo>
                  <a:pt x="699236" y="1475257"/>
                </a:moveTo>
                <a:lnTo>
                  <a:pt x="686536" y="1475257"/>
                </a:lnTo>
                <a:lnTo>
                  <a:pt x="686536" y="1513357"/>
                </a:lnTo>
                <a:lnTo>
                  <a:pt x="699236" y="1513357"/>
                </a:lnTo>
                <a:lnTo>
                  <a:pt x="699236" y="1475257"/>
                </a:lnTo>
                <a:close/>
              </a:path>
              <a:path w="731520" h="3316604">
                <a:moveTo>
                  <a:pt x="699236" y="1424457"/>
                </a:moveTo>
                <a:lnTo>
                  <a:pt x="686536" y="1424457"/>
                </a:lnTo>
                <a:lnTo>
                  <a:pt x="686536" y="1462557"/>
                </a:lnTo>
                <a:lnTo>
                  <a:pt x="699236" y="1462557"/>
                </a:lnTo>
                <a:lnTo>
                  <a:pt x="699236" y="1424457"/>
                </a:lnTo>
                <a:close/>
              </a:path>
              <a:path w="731520" h="3316604">
                <a:moveTo>
                  <a:pt x="699236" y="1373657"/>
                </a:moveTo>
                <a:lnTo>
                  <a:pt x="686536" y="1373657"/>
                </a:lnTo>
                <a:lnTo>
                  <a:pt x="686536" y="1411757"/>
                </a:lnTo>
                <a:lnTo>
                  <a:pt x="699236" y="1411757"/>
                </a:lnTo>
                <a:lnTo>
                  <a:pt x="699236" y="1373657"/>
                </a:lnTo>
                <a:close/>
              </a:path>
              <a:path w="731520" h="3316604">
                <a:moveTo>
                  <a:pt x="699236" y="1322857"/>
                </a:moveTo>
                <a:lnTo>
                  <a:pt x="686536" y="1322857"/>
                </a:lnTo>
                <a:lnTo>
                  <a:pt x="686536" y="1360957"/>
                </a:lnTo>
                <a:lnTo>
                  <a:pt x="699236" y="1360957"/>
                </a:lnTo>
                <a:lnTo>
                  <a:pt x="699236" y="1322857"/>
                </a:lnTo>
                <a:close/>
              </a:path>
              <a:path w="731520" h="3316604">
                <a:moveTo>
                  <a:pt x="699236" y="1272057"/>
                </a:moveTo>
                <a:lnTo>
                  <a:pt x="686536" y="1272057"/>
                </a:lnTo>
                <a:lnTo>
                  <a:pt x="686536" y="1310157"/>
                </a:lnTo>
                <a:lnTo>
                  <a:pt x="699236" y="1310157"/>
                </a:lnTo>
                <a:lnTo>
                  <a:pt x="699236" y="1272057"/>
                </a:lnTo>
                <a:close/>
              </a:path>
              <a:path w="731520" h="3316604">
                <a:moveTo>
                  <a:pt x="699236" y="1221257"/>
                </a:moveTo>
                <a:lnTo>
                  <a:pt x="686536" y="1221257"/>
                </a:lnTo>
                <a:lnTo>
                  <a:pt x="686536" y="1259357"/>
                </a:lnTo>
                <a:lnTo>
                  <a:pt x="699236" y="1259357"/>
                </a:lnTo>
                <a:lnTo>
                  <a:pt x="699236" y="1221257"/>
                </a:lnTo>
                <a:close/>
              </a:path>
              <a:path w="731520" h="3316604">
                <a:moveTo>
                  <a:pt x="699236" y="1170457"/>
                </a:moveTo>
                <a:lnTo>
                  <a:pt x="686536" y="1170457"/>
                </a:lnTo>
                <a:lnTo>
                  <a:pt x="686536" y="1208557"/>
                </a:lnTo>
                <a:lnTo>
                  <a:pt x="699236" y="1208557"/>
                </a:lnTo>
                <a:lnTo>
                  <a:pt x="699236" y="1170457"/>
                </a:lnTo>
                <a:close/>
              </a:path>
              <a:path w="731520" h="3316604">
                <a:moveTo>
                  <a:pt x="699236" y="1119657"/>
                </a:moveTo>
                <a:lnTo>
                  <a:pt x="686536" y="1119657"/>
                </a:lnTo>
                <a:lnTo>
                  <a:pt x="686536" y="1157757"/>
                </a:lnTo>
                <a:lnTo>
                  <a:pt x="699236" y="1157757"/>
                </a:lnTo>
                <a:lnTo>
                  <a:pt x="699236" y="1119657"/>
                </a:lnTo>
                <a:close/>
              </a:path>
              <a:path w="731520" h="3316604">
                <a:moveTo>
                  <a:pt x="699236" y="1068857"/>
                </a:moveTo>
                <a:lnTo>
                  <a:pt x="686536" y="1068857"/>
                </a:lnTo>
                <a:lnTo>
                  <a:pt x="686536" y="1106957"/>
                </a:lnTo>
                <a:lnTo>
                  <a:pt x="699236" y="1106957"/>
                </a:lnTo>
                <a:lnTo>
                  <a:pt x="699236" y="1068857"/>
                </a:lnTo>
                <a:close/>
              </a:path>
              <a:path w="731520" h="3316604">
                <a:moveTo>
                  <a:pt x="699236" y="1018057"/>
                </a:moveTo>
                <a:lnTo>
                  <a:pt x="686536" y="1018057"/>
                </a:lnTo>
                <a:lnTo>
                  <a:pt x="686536" y="1056157"/>
                </a:lnTo>
                <a:lnTo>
                  <a:pt x="699236" y="1056157"/>
                </a:lnTo>
                <a:lnTo>
                  <a:pt x="699236" y="1018057"/>
                </a:lnTo>
                <a:close/>
              </a:path>
              <a:path w="731520" h="3316604">
                <a:moveTo>
                  <a:pt x="699236" y="967257"/>
                </a:moveTo>
                <a:lnTo>
                  <a:pt x="686536" y="967257"/>
                </a:lnTo>
                <a:lnTo>
                  <a:pt x="686536" y="1005357"/>
                </a:lnTo>
                <a:lnTo>
                  <a:pt x="699236" y="1005357"/>
                </a:lnTo>
                <a:lnTo>
                  <a:pt x="699236" y="967257"/>
                </a:lnTo>
                <a:close/>
              </a:path>
              <a:path w="731520" h="3316604">
                <a:moveTo>
                  <a:pt x="699236" y="916457"/>
                </a:moveTo>
                <a:lnTo>
                  <a:pt x="686536" y="916457"/>
                </a:lnTo>
                <a:lnTo>
                  <a:pt x="686536" y="954557"/>
                </a:lnTo>
                <a:lnTo>
                  <a:pt x="699236" y="954557"/>
                </a:lnTo>
                <a:lnTo>
                  <a:pt x="699236" y="916457"/>
                </a:lnTo>
                <a:close/>
              </a:path>
              <a:path w="731520" h="3316604">
                <a:moveTo>
                  <a:pt x="699236" y="865657"/>
                </a:moveTo>
                <a:lnTo>
                  <a:pt x="686536" y="865657"/>
                </a:lnTo>
                <a:lnTo>
                  <a:pt x="686536" y="903757"/>
                </a:lnTo>
                <a:lnTo>
                  <a:pt x="699236" y="903757"/>
                </a:lnTo>
                <a:lnTo>
                  <a:pt x="699236" y="865657"/>
                </a:lnTo>
                <a:close/>
              </a:path>
              <a:path w="731520" h="3316604">
                <a:moveTo>
                  <a:pt x="699236" y="814857"/>
                </a:moveTo>
                <a:lnTo>
                  <a:pt x="686536" y="814857"/>
                </a:lnTo>
                <a:lnTo>
                  <a:pt x="686536" y="852957"/>
                </a:lnTo>
                <a:lnTo>
                  <a:pt x="699236" y="852957"/>
                </a:lnTo>
                <a:lnTo>
                  <a:pt x="699236" y="814857"/>
                </a:lnTo>
                <a:close/>
              </a:path>
              <a:path w="731520" h="3316604">
                <a:moveTo>
                  <a:pt x="699236" y="764057"/>
                </a:moveTo>
                <a:lnTo>
                  <a:pt x="686536" y="764057"/>
                </a:lnTo>
                <a:lnTo>
                  <a:pt x="686536" y="802157"/>
                </a:lnTo>
                <a:lnTo>
                  <a:pt x="699236" y="802157"/>
                </a:lnTo>
                <a:lnTo>
                  <a:pt x="699236" y="764057"/>
                </a:lnTo>
                <a:close/>
              </a:path>
              <a:path w="731520" h="3316604">
                <a:moveTo>
                  <a:pt x="699236" y="713257"/>
                </a:moveTo>
                <a:lnTo>
                  <a:pt x="686536" y="713257"/>
                </a:lnTo>
                <a:lnTo>
                  <a:pt x="686536" y="751357"/>
                </a:lnTo>
                <a:lnTo>
                  <a:pt x="699236" y="751357"/>
                </a:lnTo>
                <a:lnTo>
                  <a:pt x="699236" y="713257"/>
                </a:lnTo>
                <a:close/>
              </a:path>
              <a:path w="731520" h="3316604">
                <a:moveTo>
                  <a:pt x="699236" y="662457"/>
                </a:moveTo>
                <a:lnTo>
                  <a:pt x="686536" y="662457"/>
                </a:lnTo>
                <a:lnTo>
                  <a:pt x="686536" y="700557"/>
                </a:lnTo>
                <a:lnTo>
                  <a:pt x="699236" y="700557"/>
                </a:lnTo>
                <a:lnTo>
                  <a:pt x="699236" y="662457"/>
                </a:lnTo>
                <a:close/>
              </a:path>
              <a:path w="731520" h="3316604">
                <a:moveTo>
                  <a:pt x="699236" y="611657"/>
                </a:moveTo>
                <a:lnTo>
                  <a:pt x="686536" y="611657"/>
                </a:lnTo>
                <a:lnTo>
                  <a:pt x="686536" y="649757"/>
                </a:lnTo>
                <a:lnTo>
                  <a:pt x="699236" y="649757"/>
                </a:lnTo>
                <a:lnTo>
                  <a:pt x="699236" y="611657"/>
                </a:lnTo>
                <a:close/>
              </a:path>
              <a:path w="731520" h="3316604">
                <a:moveTo>
                  <a:pt x="699236" y="560857"/>
                </a:moveTo>
                <a:lnTo>
                  <a:pt x="686536" y="560857"/>
                </a:lnTo>
                <a:lnTo>
                  <a:pt x="686536" y="598957"/>
                </a:lnTo>
                <a:lnTo>
                  <a:pt x="699236" y="598957"/>
                </a:lnTo>
                <a:lnTo>
                  <a:pt x="699236" y="560857"/>
                </a:lnTo>
                <a:close/>
              </a:path>
              <a:path w="731520" h="3316604">
                <a:moveTo>
                  <a:pt x="699236" y="510057"/>
                </a:moveTo>
                <a:lnTo>
                  <a:pt x="686536" y="510057"/>
                </a:lnTo>
                <a:lnTo>
                  <a:pt x="686536" y="548157"/>
                </a:lnTo>
                <a:lnTo>
                  <a:pt x="699236" y="548157"/>
                </a:lnTo>
                <a:lnTo>
                  <a:pt x="699236" y="510057"/>
                </a:lnTo>
                <a:close/>
              </a:path>
              <a:path w="731520" h="3316604">
                <a:moveTo>
                  <a:pt x="699236" y="459257"/>
                </a:moveTo>
                <a:lnTo>
                  <a:pt x="686536" y="459257"/>
                </a:lnTo>
                <a:lnTo>
                  <a:pt x="686536" y="497357"/>
                </a:lnTo>
                <a:lnTo>
                  <a:pt x="699236" y="497357"/>
                </a:lnTo>
                <a:lnTo>
                  <a:pt x="699236" y="459257"/>
                </a:lnTo>
                <a:close/>
              </a:path>
              <a:path w="731520" h="3316604">
                <a:moveTo>
                  <a:pt x="699236" y="408457"/>
                </a:moveTo>
                <a:lnTo>
                  <a:pt x="686536" y="408457"/>
                </a:lnTo>
                <a:lnTo>
                  <a:pt x="686536" y="446557"/>
                </a:lnTo>
                <a:lnTo>
                  <a:pt x="699236" y="446557"/>
                </a:lnTo>
                <a:lnTo>
                  <a:pt x="699236" y="408457"/>
                </a:lnTo>
                <a:close/>
              </a:path>
              <a:path w="731520" h="3316604">
                <a:moveTo>
                  <a:pt x="699236" y="357657"/>
                </a:moveTo>
                <a:lnTo>
                  <a:pt x="686536" y="357657"/>
                </a:lnTo>
                <a:lnTo>
                  <a:pt x="686536" y="395757"/>
                </a:lnTo>
                <a:lnTo>
                  <a:pt x="699236" y="395757"/>
                </a:lnTo>
                <a:lnTo>
                  <a:pt x="699236" y="357657"/>
                </a:lnTo>
                <a:close/>
              </a:path>
              <a:path w="731520" h="3316604">
                <a:moveTo>
                  <a:pt x="699236" y="306857"/>
                </a:moveTo>
                <a:lnTo>
                  <a:pt x="686536" y="306857"/>
                </a:lnTo>
                <a:lnTo>
                  <a:pt x="686536" y="344957"/>
                </a:lnTo>
                <a:lnTo>
                  <a:pt x="699236" y="344957"/>
                </a:lnTo>
                <a:lnTo>
                  <a:pt x="699236" y="306857"/>
                </a:lnTo>
                <a:close/>
              </a:path>
              <a:path w="731520" h="3316604">
                <a:moveTo>
                  <a:pt x="699236" y="256057"/>
                </a:moveTo>
                <a:lnTo>
                  <a:pt x="686536" y="256057"/>
                </a:lnTo>
                <a:lnTo>
                  <a:pt x="686536" y="294157"/>
                </a:lnTo>
                <a:lnTo>
                  <a:pt x="699236" y="294157"/>
                </a:lnTo>
                <a:lnTo>
                  <a:pt x="699236" y="256057"/>
                </a:lnTo>
                <a:close/>
              </a:path>
              <a:path w="731520" h="3316604">
                <a:moveTo>
                  <a:pt x="699236" y="205257"/>
                </a:moveTo>
                <a:lnTo>
                  <a:pt x="686536" y="205257"/>
                </a:lnTo>
                <a:lnTo>
                  <a:pt x="686536" y="243357"/>
                </a:lnTo>
                <a:lnTo>
                  <a:pt x="699236" y="243357"/>
                </a:lnTo>
                <a:lnTo>
                  <a:pt x="699236" y="205257"/>
                </a:lnTo>
                <a:close/>
              </a:path>
              <a:path w="731520" h="3316604">
                <a:moveTo>
                  <a:pt x="699236" y="154457"/>
                </a:moveTo>
                <a:lnTo>
                  <a:pt x="686536" y="154457"/>
                </a:lnTo>
                <a:lnTo>
                  <a:pt x="686536" y="192557"/>
                </a:lnTo>
                <a:lnTo>
                  <a:pt x="699236" y="192557"/>
                </a:lnTo>
                <a:lnTo>
                  <a:pt x="699236" y="154457"/>
                </a:lnTo>
                <a:close/>
              </a:path>
              <a:path w="731520" h="3316604">
                <a:moveTo>
                  <a:pt x="699236" y="103657"/>
                </a:moveTo>
                <a:lnTo>
                  <a:pt x="686536" y="103657"/>
                </a:lnTo>
                <a:lnTo>
                  <a:pt x="686536" y="141757"/>
                </a:lnTo>
                <a:lnTo>
                  <a:pt x="699236" y="141757"/>
                </a:lnTo>
                <a:lnTo>
                  <a:pt x="699236" y="103657"/>
                </a:lnTo>
                <a:close/>
              </a:path>
              <a:path w="731520" h="3316604">
                <a:moveTo>
                  <a:pt x="699236" y="63500"/>
                </a:moveTo>
                <a:lnTo>
                  <a:pt x="686536" y="63500"/>
                </a:lnTo>
                <a:lnTo>
                  <a:pt x="686536" y="90957"/>
                </a:lnTo>
                <a:lnTo>
                  <a:pt x="699236" y="90957"/>
                </a:lnTo>
                <a:lnTo>
                  <a:pt x="699236" y="63500"/>
                </a:lnTo>
                <a:close/>
              </a:path>
              <a:path w="731520" h="3316604">
                <a:moveTo>
                  <a:pt x="692886" y="0"/>
                </a:moveTo>
                <a:lnTo>
                  <a:pt x="654786" y="76200"/>
                </a:lnTo>
                <a:lnTo>
                  <a:pt x="686536" y="76200"/>
                </a:lnTo>
                <a:lnTo>
                  <a:pt x="686536" y="63500"/>
                </a:lnTo>
                <a:lnTo>
                  <a:pt x="724636" y="63500"/>
                </a:lnTo>
                <a:lnTo>
                  <a:pt x="692886" y="0"/>
                </a:lnTo>
                <a:close/>
              </a:path>
              <a:path w="731520" h="3316604">
                <a:moveTo>
                  <a:pt x="724636" y="63500"/>
                </a:moveTo>
                <a:lnTo>
                  <a:pt x="699236" y="63500"/>
                </a:lnTo>
                <a:lnTo>
                  <a:pt x="699236" y="76200"/>
                </a:lnTo>
                <a:lnTo>
                  <a:pt x="730986" y="76200"/>
                </a:lnTo>
                <a:lnTo>
                  <a:pt x="724636" y="63500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21279" y="1011936"/>
            <a:ext cx="582168" cy="5821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422042" y="1545843"/>
            <a:ext cx="98361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6210" marR="5080" indent="-144145">
              <a:lnSpc>
                <a:spcPct val="100000"/>
              </a:lnSpc>
              <a:spcBef>
                <a:spcPts val="100"/>
              </a:spcBef>
            </a:pPr>
            <a:r>
              <a:rPr sz="1000" spc="-15">
                <a:latin typeface="Trebuchet MS"/>
                <a:cs typeface="Trebuchet MS"/>
              </a:rPr>
              <a:t>Monitor </a:t>
            </a:r>
            <a:r>
              <a:rPr sz="1000" spc="-45">
                <a:latin typeface="Trebuchet MS"/>
                <a:cs typeface="Trebuchet MS"/>
              </a:rPr>
              <a:t>for</a:t>
            </a:r>
            <a:r>
              <a:rPr sz="1000" spc="-190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model  </a:t>
            </a:r>
            <a:r>
              <a:rPr sz="1000" spc="-45">
                <a:latin typeface="Trebuchet MS"/>
                <a:cs typeface="Trebuchet MS"/>
              </a:rPr>
              <a:t>performanc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74646" y="939317"/>
            <a:ext cx="252006" cy="25199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02608" y="1011936"/>
            <a:ext cx="582167" cy="5821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799217" y="1545843"/>
            <a:ext cx="118745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0979" marR="5080" indent="-208915">
              <a:lnSpc>
                <a:spcPct val="100000"/>
              </a:lnSpc>
              <a:spcBef>
                <a:spcPts val="100"/>
              </a:spcBef>
            </a:pPr>
            <a:r>
              <a:rPr sz="1000" spc="-15">
                <a:latin typeface="Trebuchet MS"/>
                <a:cs typeface="Trebuchet MS"/>
              </a:rPr>
              <a:t>Monitor </a:t>
            </a:r>
            <a:r>
              <a:rPr sz="1000" spc="-45">
                <a:latin typeface="Trebuchet MS"/>
                <a:cs typeface="Trebuchet MS"/>
              </a:rPr>
              <a:t>for</a:t>
            </a:r>
            <a:r>
              <a:rPr sz="1000" spc="-180">
                <a:latin typeface="Trebuchet MS"/>
                <a:cs typeface="Trebuchet MS"/>
              </a:rPr>
              <a:t> </a:t>
            </a:r>
            <a:r>
              <a:rPr sz="1000" spc="-45">
                <a:latin typeface="Trebuchet MS"/>
                <a:cs typeface="Trebuchet MS"/>
              </a:rPr>
              <a:t>generated  </a:t>
            </a:r>
            <a:r>
              <a:rPr sz="1000" spc="-35">
                <a:latin typeface="Trebuchet MS"/>
                <a:cs typeface="Trebuchet MS"/>
              </a:rPr>
              <a:t>business</a:t>
            </a:r>
            <a:r>
              <a:rPr sz="1000" spc="-90">
                <a:latin typeface="Trebuchet MS"/>
                <a:cs typeface="Trebuchet MS"/>
              </a:rPr>
              <a:t> </a:t>
            </a:r>
            <a:r>
              <a:rPr sz="1000" spc="-50">
                <a:latin typeface="Trebuchet MS"/>
                <a:cs typeface="Trebuchet MS"/>
              </a:rPr>
              <a:t>valu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670262" y="939317"/>
            <a:ext cx="251993" cy="2519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143000" y="1011936"/>
            <a:ext cx="582168" cy="58216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074249" y="1698243"/>
            <a:ext cx="71945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latin typeface="Trebuchet MS"/>
                <a:cs typeface="Trebuchet MS"/>
              </a:rPr>
              <a:t>Data</a:t>
            </a:r>
            <a:r>
              <a:rPr sz="1000" spc="-120">
                <a:latin typeface="Trebuchet MS"/>
                <a:cs typeface="Trebuchet MS"/>
              </a:rPr>
              <a:t> </a:t>
            </a:r>
            <a:r>
              <a:rPr sz="1000" spc="-15">
                <a:latin typeface="Trebuchet MS"/>
                <a:cs typeface="Trebuchet MS"/>
              </a:rPr>
              <a:t>Monitor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35808" y="939317"/>
            <a:ext cx="251999" cy="25199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03865" y="934212"/>
            <a:ext cx="305054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551305" algn="l"/>
                <a:tab pos="2947035" algn="l"/>
              </a:tabLst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3	1	2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89287" y="3932821"/>
            <a:ext cx="251999" cy="25200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57342" y="3927348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4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38783" y="3852671"/>
            <a:ext cx="917447" cy="91744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006373" y="4633467"/>
            <a:ext cx="7842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0">
                <a:latin typeface="Trebuchet MS"/>
                <a:cs typeface="Trebuchet MS"/>
              </a:rPr>
              <a:t>Feature</a:t>
            </a:r>
            <a:r>
              <a:rPr sz="1000" spc="-130">
                <a:latin typeface="Trebuchet MS"/>
                <a:cs typeface="Trebuchet MS"/>
              </a:rPr>
              <a:t> </a:t>
            </a:r>
            <a:r>
              <a:rPr sz="1000" spc="-10">
                <a:latin typeface="Trebuchet MS"/>
                <a:cs typeface="Trebuchet MS"/>
              </a:rPr>
              <a:t>store*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855690" y="2972650"/>
            <a:ext cx="252006" cy="25199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5923750" y="2967228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5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900343" y="3673347"/>
            <a:ext cx="186118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latin typeface="Trebuchet MS"/>
                <a:cs typeface="Trebuchet MS"/>
              </a:rPr>
              <a:t>Modularized </a:t>
            </a:r>
            <a:r>
              <a:rPr sz="1000" spc="-40">
                <a:latin typeface="Trebuchet MS"/>
                <a:cs typeface="Trebuchet MS"/>
              </a:rPr>
              <a:t>and </a:t>
            </a:r>
            <a:r>
              <a:rPr sz="1000" spc="-45">
                <a:latin typeface="Trebuchet MS"/>
                <a:cs typeface="Trebuchet MS"/>
              </a:rPr>
              <a:t>reusable</a:t>
            </a:r>
            <a:r>
              <a:rPr sz="1000" spc="-204">
                <a:latin typeface="Trebuchet MS"/>
                <a:cs typeface="Trebuchet MS"/>
              </a:rPr>
              <a:t> </a:t>
            </a:r>
            <a:r>
              <a:rPr sz="1000" spc="-45">
                <a:latin typeface="Trebuchet MS"/>
                <a:cs typeface="Trebuchet MS"/>
              </a:rPr>
              <a:t>pipeline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5976933" y="3306241"/>
            <a:ext cx="1764030" cy="317500"/>
            <a:chOff x="5976933" y="3306241"/>
            <a:chExt cx="1764030" cy="317500"/>
          </a:xfrm>
        </p:grpSpPr>
        <p:sp>
          <p:nvSpPr>
            <p:cNvPr id="23" name="object 23"/>
            <p:cNvSpPr/>
            <p:nvPr/>
          </p:nvSpPr>
          <p:spPr>
            <a:xfrm>
              <a:off x="6933764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133664" y="0"/>
                  </a:moveTo>
                  <a:lnTo>
                    <a:pt x="175912" y="7837"/>
                  </a:lnTo>
                  <a:lnTo>
                    <a:pt x="212604" y="29661"/>
                  </a:lnTo>
                  <a:lnTo>
                    <a:pt x="241538" y="62940"/>
                  </a:lnTo>
                  <a:lnTo>
                    <a:pt x="260513" y="105142"/>
                  </a:lnTo>
                  <a:lnTo>
                    <a:pt x="267328" y="153734"/>
                  </a:lnTo>
                  <a:lnTo>
                    <a:pt x="260513" y="202325"/>
                  </a:lnTo>
                  <a:lnTo>
                    <a:pt x="241538" y="244526"/>
                  </a:lnTo>
                  <a:lnTo>
                    <a:pt x="212604" y="277805"/>
                  </a:lnTo>
                  <a:lnTo>
                    <a:pt x="175912" y="299629"/>
                  </a:lnTo>
                  <a:lnTo>
                    <a:pt x="133664" y="307467"/>
                  </a:lnTo>
                </a:path>
                <a:path w="802004" h="307975">
                  <a:moveTo>
                    <a:pt x="668319" y="307467"/>
                  </a:moveTo>
                  <a:lnTo>
                    <a:pt x="133664" y="307467"/>
                  </a:lnTo>
                  <a:lnTo>
                    <a:pt x="91415" y="299629"/>
                  </a:lnTo>
                  <a:lnTo>
                    <a:pt x="54723" y="277805"/>
                  </a:lnTo>
                  <a:lnTo>
                    <a:pt x="25789" y="244526"/>
                  </a:lnTo>
                  <a:lnTo>
                    <a:pt x="6814" y="202325"/>
                  </a:lnTo>
                  <a:lnTo>
                    <a:pt x="0" y="153734"/>
                  </a:lnTo>
                  <a:lnTo>
                    <a:pt x="6814" y="105142"/>
                  </a:lnTo>
                  <a:lnTo>
                    <a:pt x="25789" y="62940"/>
                  </a:lnTo>
                  <a:lnTo>
                    <a:pt x="54723" y="29661"/>
                  </a:lnTo>
                  <a:lnTo>
                    <a:pt x="91415" y="7837"/>
                  </a:lnTo>
                  <a:lnTo>
                    <a:pt x="133664" y="0"/>
                  </a:lnTo>
                  <a:lnTo>
                    <a:pt x="668319" y="0"/>
                  </a:lnTo>
                  <a:lnTo>
                    <a:pt x="710567" y="7837"/>
                  </a:lnTo>
                  <a:lnTo>
                    <a:pt x="747259" y="29661"/>
                  </a:lnTo>
                  <a:lnTo>
                    <a:pt x="776194" y="62940"/>
                  </a:lnTo>
                  <a:lnTo>
                    <a:pt x="795169" y="105142"/>
                  </a:lnTo>
                  <a:lnTo>
                    <a:pt x="801983" y="153734"/>
                  </a:lnTo>
                  <a:lnTo>
                    <a:pt x="795169" y="202325"/>
                  </a:lnTo>
                  <a:lnTo>
                    <a:pt x="776194" y="244526"/>
                  </a:lnTo>
                  <a:lnTo>
                    <a:pt x="747259" y="277805"/>
                  </a:lnTo>
                  <a:lnTo>
                    <a:pt x="710567" y="299629"/>
                  </a:lnTo>
                  <a:lnTo>
                    <a:pt x="668319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6438900" y="3311004"/>
              <a:ext cx="783590" cy="307975"/>
            </a:xfrm>
            <a:custGeom>
              <a:avLst/>
              <a:gdLst/>
              <a:ahLst/>
              <a:cxnLst/>
              <a:rect l="l" t="t" r="r" b="b"/>
              <a:pathLst>
                <a:path w="783590" h="307975">
                  <a:moveTo>
                    <a:pt x="652868" y="0"/>
                  </a:moveTo>
                  <a:lnTo>
                    <a:pt x="130568" y="0"/>
                  </a:lnTo>
                  <a:lnTo>
                    <a:pt x="89299" y="7837"/>
                  </a:lnTo>
                  <a:lnTo>
                    <a:pt x="53456" y="29663"/>
                  </a:lnTo>
                  <a:lnTo>
                    <a:pt x="25192" y="62942"/>
                  </a:lnTo>
                  <a:lnTo>
                    <a:pt x="6656" y="105143"/>
                  </a:lnTo>
                  <a:lnTo>
                    <a:pt x="0" y="153733"/>
                  </a:lnTo>
                  <a:lnTo>
                    <a:pt x="6656" y="202328"/>
                  </a:lnTo>
                  <a:lnTo>
                    <a:pt x="25192" y="244529"/>
                  </a:lnTo>
                  <a:lnTo>
                    <a:pt x="53456" y="277807"/>
                  </a:lnTo>
                  <a:lnTo>
                    <a:pt x="89299" y="299630"/>
                  </a:lnTo>
                  <a:lnTo>
                    <a:pt x="130568" y="307467"/>
                  </a:lnTo>
                  <a:lnTo>
                    <a:pt x="652868" y="307467"/>
                  </a:lnTo>
                  <a:lnTo>
                    <a:pt x="694138" y="299630"/>
                  </a:lnTo>
                  <a:lnTo>
                    <a:pt x="729980" y="277807"/>
                  </a:lnTo>
                  <a:lnTo>
                    <a:pt x="758245" y="244529"/>
                  </a:lnTo>
                  <a:lnTo>
                    <a:pt x="776781" y="202328"/>
                  </a:lnTo>
                  <a:lnTo>
                    <a:pt x="783437" y="153733"/>
                  </a:lnTo>
                  <a:lnTo>
                    <a:pt x="776781" y="105143"/>
                  </a:lnTo>
                  <a:lnTo>
                    <a:pt x="758245" y="62942"/>
                  </a:lnTo>
                  <a:lnTo>
                    <a:pt x="729980" y="29663"/>
                  </a:lnTo>
                  <a:lnTo>
                    <a:pt x="694138" y="7837"/>
                  </a:lnTo>
                  <a:lnTo>
                    <a:pt x="6528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438892" y="3311004"/>
              <a:ext cx="783590" cy="307975"/>
            </a:xfrm>
            <a:custGeom>
              <a:avLst/>
              <a:gdLst/>
              <a:ahLst/>
              <a:cxnLst/>
              <a:rect l="l" t="t" r="r" b="b"/>
              <a:pathLst>
                <a:path w="783590" h="307975">
                  <a:moveTo>
                    <a:pt x="130574" y="0"/>
                  </a:moveTo>
                  <a:lnTo>
                    <a:pt x="171845" y="7837"/>
                  </a:lnTo>
                  <a:lnTo>
                    <a:pt x="207689" y="29661"/>
                  </a:lnTo>
                  <a:lnTo>
                    <a:pt x="235954" y="62940"/>
                  </a:lnTo>
                  <a:lnTo>
                    <a:pt x="254491" y="105142"/>
                  </a:lnTo>
                  <a:lnTo>
                    <a:pt x="261148" y="153734"/>
                  </a:lnTo>
                  <a:lnTo>
                    <a:pt x="254491" y="202325"/>
                  </a:lnTo>
                  <a:lnTo>
                    <a:pt x="235954" y="244526"/>
                  </a:lnTo>
                  <a:lnTo>
                    <a:pt x="207689" y="277805"/>
                  </a:lnTo>
                  <a:lnTo>
                    <a:pt x="171845" y="299629"/>
                  </a:lnTo>
                  <a:lnTo>
                    <a:pt x="130574" y="307467"/>
                  </a:lnTo>
                </a:path>
                <a:path w="783590" h="307975">
                  <a:moveTo>
                    <a:pt x="652871" y="307467"/>
                  </a:moveTo>
                  <a:lnTo>
                    <a:pt x="130574" y="307467"/>
                  </a:lnTo>
                  <a:lnTo>
                    <a:pt x="89302" y="299629"/>
                  </a:lnTo>
                  <a:lnTo>
                    <a:pt x="53458" y="277805"/>
                  </a:lnTo>
                  <a:lnTo>
                    <a:pt x="25193" y="244526"/>
                  </a:lnTo>
                  <a:lnTo>
                    <a:pt x="6656" y="202325"/>
                  </a:lnTo>
                  <a:lnTo>
                    <a:pt x="0" y="153734"/>
                  </a:lnTo>
                  <a:lnTo>
                    <a:pt x="6656" y="105142"/>
                  </a:lnTo>
                  <a:lnTo>
                    <a:pt x="25193" y="62940"/>
                  </a:lnTo>
                  <a:lnTo>
                    <a:pt x="53458" y="29661"/>
                  </a:lnTo>
                  <a:lnTo>
                    <a:pt x="89302" y="7837"/>
                  </a:lnTo>
                  <a:lnTo>
                    <a:pt x="130574" y="0"/>
                  </a:lnTo>
                  <a:lnTo>
                    <a:pt x="652871" y="0"/>
                  </a:lnTo>
                  <a:lnTo>
                    <a:pt x="694142" y="7837"/>
                  </a:lnTo>
                  <a:lnTo>
                    <a:pt x="729986" y="29661"/>
                  </a:lnTo>
                  <a:lnTo>
                    <a:pt x="758252" y="62940"/>
                  </a:lnTo>
                  <a:lnTo>
                    <a:pt x="776788" y="105142"/>
                  </a:lnTo>
                  <a:lnTo>
                    <a:pt x="783445" y="153734"/>
                  </a:lnTo>
                  <a:lnTo>
                    <a:pt x="776788" y="202325"/>
                  </a:lnTo>
                  <a:lnTo>
                    <a:pt x="758252" y="244526"/>
                  </a:lnTo>
                  <a:lnTo>
                    <a:pt x="729986" y="277805"/>
                  </a:lnTo>
                  <a:lnTo>
                    <a:pt x="694142" y="299629"/>
                  </a:lnTo>
                  <a:lnTo>
                    <a:pt x="652871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5981687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668324" y="0"/>
                  </a:moveTo>
                  <a:lnTo>
                    <a:pt x="133667" y="0"/>
                  </a:lnTo>
                  <a:lnTo>
                    <a:pt x="91422" y="7837"/>
                  </a:lnTo>
                  <a:lnTo>
                    <a:pt x="54729" y="29663"/>
                  </a:lnTo>
                  <a:lnTo>
                    <a:pt x="25792" y="62942"/>
                  </a:lnTo>
                  <a:lnTo>
                    <a:pt x="6815" y="105143"/>
                  </a:lnTo>
                  <a:lnTo>
                    <a:pt x="0" y="153733"/>
                  </a:lnTo>
                  <a:lnTo>
                    <a:pt x="6815" y="202328"/>
                  </a:lnTo>
                  <a:lnTo>
                    <a:pt x="25792" y="244529"/>
                  </a:lnTo>
                  <a:lnTo>
                    <a:pt x="54729" y="277807"/>
                  </a:lnTo>
                  <a:lnTo>
                    <a:pt x="91422" y="299630"/>
                  </a:lnTo>
                  <a:lnTo>
                    <a:pt x="133667" y="307467"/>
                  </a:lnTo>
                  <a:lnTo>
                    <a:pt x="668324" y="307467"/>
                  </a:lnTo>
                  <a:lnTo>
                    <a:pt x="710575" y="299630"/>
                  </a:lnTo>
                  <a:lnTo>
                    <a:pt x="747268" y="277807"/>
                  </a:lnTo>
                  <a:lnTo>
                    <a:pt x="776202" y="244529"/>
                  </a:lnTo>
                  <a:lnTo>
                    <a:pt x="795178" y="202328"/>
                  </a:lnTo>
                  <a:lnTo>
                    <a:pt x="801992" y="153733"/>
                  </a:lnTo>
                  <a:lnTo>
                    <a:pt x="795178" y="105143"/>
                  </a:lnTo>
                  <a:lnTo>
                    <a:pt x="776202" y="62942"/>
                  </a:lnTo>
                  <a:lnTo>
                    <a:pt x="747268" y="29663"/>
                  </a:lnTo>
                  <a:lnTo>
                    <a:pt x="710575" y="7837"/>
                  </a:lnTo>
                  <a:lnTo>
                    <a:pt x="6683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981696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133664" y="0"/>
                  </a:moveTo>
                  <a:lnTo>
                    <a:pt x="175912" y="7837"/>
                  </a:lnTo>
                  <a:lnTo>
                    <a:pt x="212604" y="29661"/>
                  </a:lnTo>
                  <a:lnTo>
                    <a:pt x="241538" y="62940"/>
                  </a:lnTo>
                  <a:lnTo>
                    <a:pt x="260513" y="105142"/>
                  </a:lnTo>
                  <a:lnTo>
                    <a:pt x="267328" y="153734"/>
                  </a:lnTo>
                  <a:lnTo>
                    <a:pt x="260513" y="202325"/>
                  </a:lnTo>
                  <a:lnTo>
                    <a:pt x="241538" y="244526"/>
                  </a:lnTo>
                  <a:lnTo>
                    <a:pt x="212604" y="277805"/>
                  </a:lnTo>
                  <a:lnTo>
                    <a:pt x="175912" y="299629"/>
                  </a:lnTo>
                  <a:lnTo>
                    <a:pt x="133664" y="307467"/>
                  </a:lnTo>
                </a:path>
                <a:path w="802004" h="307975">
                  <a:moveTo>
                    <a:pt x="668319" y="307467"/>
                  </a:moveTo>
                  <a:lnTo>
                    <a:pt x="133664" y="307467"/>
                  </a:lnTo>
                  <a:lnTo>
                    <a:pt x="91415" y="299629"/>
                  </a:lnTo>
                  <a:lnTo>
                    <a:pt x="54723" y="277805"/>
                  </a:lnTo>
                  <a:lnTo>
                    <a:pt x="25789" y="244526"/>
                  </a:lnTo>
                  <a:lnTo>
                    <a:pt x="6814" y="202325"/>
                  </a:lnTo>
                  <a:lnTo>
                    <a:pt x="0" y="153734"/>
                  </a:lnTo>
                  <a:lnTo>
                    <a:pt x="6814" y="105142"/>
                  </a:lnTo>
                  <a:lnTo>
                    <a:pt x="25789" y="62940"/>
                  </a:lnTo>
                  <a:lnTo>
                    <a:pt x="54723" y="29661"/>
                  </a:lnTo>
                  <a:lnTo>
                    <a:pt x="91415" y="7837"/>
                  </a:lnTo>
                  <a:lnTo>
                    <a:pt x="133664" y="0"/>
                  </a:lnTo>
                  <a:lnTo>
                    <a:pt x="668319" y="0"/>
                  </a:lnTo>
                  <a:lnTo>
                    <a:pt x="710567" y="7837"/>
                  </a:lnTo>
                  <a:lnTo>
                    <a:pt x="747259" y="29661"/>
                  </a:lnTo>
                  <a:lnTo>
                    <a:pt x="776194" y="62940"/>
                  </a:lnTo>
                  <a:lnTo>
                    <a:pt x="795169" y="105142"/>
                  </a:lnTo>
                  <a:lnTo>
                    <a:pt x="801983" y="153734"/>
                  </a:lnTo>
                  <a:lnTo>
                    <a:pt x="795169" y="202325"/>
                  </a:lnTo>
                  <a:lnTo>
                    <a:pt x="776194" y="244526"/>
                  </a:lnTo>
                  <a:lnTo>
                    <a:pt x="747259" y="277805"/>
                  </a:lnTo>
                  <a:lnTo>
                    <a:pt x="710567" y="299629"/>
                  </a:lnTo>
                  <a:lnTo>
                    <a:pt x="668319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/>
          <p:nvPr/>
        </p:nvSpPr>
        <p:spPr>
          <a:xfrm>
            <a:off x="8742730" y="1606562"/>
            <a:ext cx="252006" cy="25199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8810790" y="1601724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9497568" y="1938527"/>
            <a:ext cx="463296" cy="46329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0070592" y="1938527"/>
            <a:ext cx="466344" cy="4632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921495" y="1938527"/>
            <a:ext cx="463296" cy="46329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9003627" y="2475483"/>
            <a:ext cx="145161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2870" marR="5080" indent="-90805">
              <a:lnSpc>
                <a:spcPct val="100000"/>
              </a:lnSpc>
              <a:spcBef>
                <a:spcPts val="100"/>
              </a:spcBef>
            </a:pPr>
            <a:r>
              <a:rPr sz="1000" spc="-50">
                <a:latin typeface="Trebuchet MS"/>
                <a:cs typeface="Trebuchet MS"/>
              </a:rPr>
              <a:t>Experiment </a:t>
            </a:r>
            <a:r>
              <a:rPr sz="1000" spc="-60">
                <a:latin typeface="Trebuchet MS"/>
                <a:cs typeface="Trebuchet MS"/>
              </a:rPr>
              <a:t>tracking,</a:t>
            </a:r>
            <a:r>
              <a:rPr sz="1000" spc="-145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model  </a:t>
            </a:r>
            <a:r>
              <a:rPr sz="1000" spc="-55">
                <a:latin typeface="Trebuchet MS"/>
                <a:cs typeface="Trebuchet MS"/>
              </a:rPr>
              <a:t>registry, </a:t>
            </a:r>
            <a:r>
              <a:rPr sz="1000" spc="-50">
                <a:latin typeface="Trebuchet MS"/>
                <a:cs typeface="Trebuchet MS"/>
              </a:rPr>
              <a:t>metadata</a:t>
            </a:r>
            <a:r>
              <a:rPr sz="1000" spc="-125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stor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937789" y="6163563"/>
            <a:ext cx="142303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80059" marR="5080" indent="-467995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latin typeface="Trebuchet MS"/>
                <a:cs typeface="Trebuchet MS"/>
              </a:rPr>
              <a:t>Model</a:t>
            </a:r>
            <a:r>
              <a:rPr sz="1000" spc="-215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results and </a:t>
            </a:r>
            <a:r>
              <a:rPr sz="1000" spc="-35">
                <a:latin typeface="Trebuchet MS"/>
                <a:cs typeface="Trebuchet MS"/>
              </a:rPr>
              <a:t>business  </a:t>
            </a:r>
            <a:r>
              <a:rPr sz="1000" spc="-40">
                <a:latin typeface="Trebuchet MS"/>
                <a:cs typeface="Trebuchet MS"/>
              </a:rPr>
              <a:t>outcom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0586084" y="140652"/>
            <a:ext cx="252006" cy="25200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6" name="object 36"/>
          <p:cNvGrpSpPr/>
          <p:nvPr/>
        </p:nvGrpSpPr>
        <p:grpSpPr>
          <a:xfrm>
            <a:off x="3057144" y="1078991"/>
            <a:ext cx="4785360" cy="5218430"/>
            <a:chOff x="3057144" y="1078991"/>
            <a:chExt cx="4785360" cy="5218430"/>
          </a:xfrm>
        </p:grpSpPr>
        <p:sp>
          <p:nvSpPr>
            <p:cNvPr id="37" name="object 37"/>
            <p:cNvSpPr/>
            <p:nvPr/>
          </p:nvSpPr>
          <p:spPr>
            <a:xfrm>
              <a:off x="6345935" y="1082039"/>
              <a:ext cx="582167" cy="582167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7260335" y="1078991"/>
              <a:ext cx="582168" cy="585215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3057144" y="5401056"/>
              <a:ext cx="758952" cy="758952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480816" y="5538215"/>
              <a:ext cx="758951" cy="758951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10471239" y="3111"/>
            <a:ext cx="1720850" cy="1191895"/>
          </a:xfrm>
          <a:prstGeom prst="rect">
            <a:avLst/>
          </a:prstGeom>
          <a:ln w="9525">
            <a:solidFill>
              <a:srgbClr val="000000"/>
            </a:solidFill>
          </a:ln>
        </p:spPr>
        <p:txBody>
          <a:bodyPr vert="horz" wrap="square" lIns="0" tIns="144780" rIns="0" bIns="0" rtlCol="0">
            <a:spAutoFit/>
          </a:bodyPr>
          <a:lstStyle/>
          <a:p>
            <a:pPr marL="195580">
              <a:lnSpc>
                <a:spcPct val="100000"/>
              </a:lnSpc>
              <a:spcBef>
                <a:spcPts val="114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350">
              <a:latin typeface="Trebuchet MS"/>
              <a:cs typeface="Trebuchet MS"/>
            </a:endParaRPr>
          </a:p>
          <a:p>
            <a:pPr marL="176530">
              <a:lnSpc>
                <a:spcPct val="100000"/>
              </a:lnSpc>
            </a:pPr>
            <a:r>
              <a:rPr sz="1000" spc="-40">
                <a:latin typeface="Trebuchet MS"/>
                <a:cs typeface="Trebuchet MS"/>
              </a:rPr>
              <a:t>Automated model</a:t>
            </a:r>
            <a:r>
              <a:rPr sz="1000" spc="-135">
                <a:latin typeface="Trebuchet MS"/>
                <a:cs typeface="Trebuchet MS"/>
              </a:rPr>
              <a:t> </a:t>
            </a:r>
            <a:r>
              <a:rPr sz="1000" spc="-50">
                <a:latin typeface="Trebuchet MS"/>
                <a:cs typeface="Trebuchet MS"/>
              </a:rPr>
              <a:t>train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10814304" y="140207"/>
            <a:ext cx="917575" cy="917575"/>
            <a:chOff x="10814304" y="140207"/>
            <a:chExt cx="917575" cy="917575"/>
          </a:xfrm>
        </p:grpSpPr>
        <p:sp>
          <p:nvSpPr>
            <p:cNvPr id="43" name="object 43"/>
            <p:cNvSpPr/>
            <p:nvPr/>
          </p:nvSpPr>
          <p:spPr>
            <a:xfrm>
              <a:off x="11045952" y="353567"/>
              <a:ext cx="490727" cy="487679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0814304" y="140207"/>
              <a:ext cx="917448" cy="917448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11057597" y="4648707"/>
            <a:ext cx="4730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latin typeface="Trebuchet MS"/>
                <a:cs typeface="Trebuchet MS"/>
              </a:rPr>
              <a:t>End</a:t>
            </a:r>
            <a:r>
              <a:rPr sz="1000" spc="-135">
                <a:latin typeface="Trebuchet MS"/>
                <a:cs typeface="Trebuchet MS"/>
              </a:rPr>
              <a:t> </a:t>
            </a:r>
            <a:r>
              <a:rPr sz="1000" spc="-35">
                <a:latin typeface="Trebuchet MS"/>
                <a:cs typeface="Trebuchet MS"/>
              </a:rPr>
              <a:t>user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10835640" y="3803903"/>
            <a:ext cx="917448" cy="91744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8295385" y="4654803"/>
            <a:ext cx="108140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latin typeface="Trebuchet MS"/>
                <a:cs typeface="Trebuchet MS"/>
              </a:rPr>
              <a:t>Model </a:t>
            </a:r>
            <a:r>
              <a:rPr sz="1000" spc="-45">
                <a:latin typeface="Trebuchet MS"/>
                <a:cs typeface="Trebuchet MS"/>
              </a:rPr>
              <a:t>in</a:t>
            </a:r>
            <a:r>
              <a:rPr sz="1000" spc="-220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production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8375904" y="3880103"/>
            <a:ext cx="917448" cy="917448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6658470" y="2307843"/>
            <a:ext cx="8985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latin typeface="Trebuchet MS"/>
                <a:cs typeface="Trebuchet MS"/>
              </a:rPr>
              <a:t>Analysis</a:t>
            </a:r>
            <a:r>
              <a:rPr sz="1000" spc="-114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sandbox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9448304" y="4281678"/>
            <a:ext cx="1188085" cy="76200"/>
          </a:xfrm>
          <a:custGeom>
            <a:avLst/>
            <a:gdLst/>
            <a:ahLst/>
            <a:cxnLst/>
            <a:rect l="l" t="t" r="r" b="b"/>
            <a:pathLst>
              <a:path w="1188084" h="76200">
                <a:moveTo>
                  <a:pt x="1111796" y="0"/>
                </a:moveTo>
                <a:lnTo>
                  <a:pt x="1111796" y="76200"/>
                </a:lnTo>
                <a:lnTo>
                  <a:pt x="1168946" y="47625"/>
                </a:lnTo>
                <a:lnTo>
                  <a:pt x="1124496" y="47625"/>
                </a:lnTo>
                <a:lnTo>
                  <a:pt x="1124496" y="28575"/>
                </a:lnTo>
                <a:lnTo>
                  <a:pt x="1168946" y="28575"/>
                </a:lnTo>
                <a:lnTo>
                  <a:pt x="1111796" y="0"/>
                </a:lnTo>
                <a:close/>
              </a:path>
              <a:path w="1188084" h="76200">
                <a:moveTo>
                  <a:pt x="1111796" y="28575"/>
                </a:moveTo>
                <a:lnTo>
                  <a:pt x="0" y="28575"/>
                </a:lnTo>
                <a:lnTo>
                  <a:pt x="0" y="47625"/>
                </a:lnTo>
                <a:lnTo>
                  <a:pt x="1111796" y="47625"/>
                </a:lnTo>
                <a:lnTo>
                  <a:pt x="1111796" y="28575"/>
                </a:lnTo>
                <a:close/>
              </a:path>
              <a:path w="1188084" h="76200">
                <a:moveTo>
                  <a:pt x="1168946" y="28575"/>
                </a:moveTo>
                <a:lnTo>
                  <a:pt x="1124496" y="28575"/>
                </a:lnTo>
                <a:lnTo>
                  <a:pt x="1124496" y="47625"/>
                </a:lnTo>
                <a:lnTo>
                  <a:pt x="1168946" y="47625"/>
                </a:lnTo>
                <a:lnTo>
                  <a:pt x="1187996" y="38100"/>
                </a:lnTo>
                <a:lnTo>
                  <a:pt x="1168946" y="28575"/>
                </a:lnTo>
                <a:close/>
              </a:path>
            </a:pathLst>
          </a:custGeom>
          <a:solidFill>
            <a:srgbClr val="6B00A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1" name="object 51"/>
          <p:cNvGrpSpPr/>
          <p:nvPr/>
        </p:nvGrpSpPr>
        <p:grpSpPr>
          <a:xfrm>
            <a:off x="2004060" y="1481327"/>
            <a:ext cx="9297035" cy="4436745"/>
            <a:chOff x="2004060" y="1481327"/>
            <a:chExt cx="9297035" cy="4436745"/>
          </a:xfrm>
        </p:grpSpPr>
        <p:sp>
          <p:nvSpPr>
            <p:cNvPr id="52" name="object 52"/>
            <p:cNvSpPr/>
            <p:nvPr/>
          </p:nvSpPr>
          <p:spPr>
            <a:xfrm>
              <a:off x="6647688" y="1481327"/>
              <a:ext cx="917448" cy="917448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2038718" y="2254414"/>
              <a:ext cx="7696834" cy="1941195"/>
            </a:xfrm>
            <a:custGeom>
              <a:avLst/>
              <a:gdLst/>
              <a:ahLst/>
              <a:cxnLst/>
              <a:rect l="l" t="t" r="r" b="b"/>
              <a:pathLst>
                <a:path w="7696834" h="1941195">
                  <a:moveTo>
                    <a:pt x="4353661" y="38100"/>
                  </a:moveTo>
                  <a:lnTo>
                    <a:pt x="4340961" y="31750"/>
                  </a:lnTo>
                  <a:lnTo>
                    <a:pt x="4277461" y="0"/>
                  </a:lnTo>
                  <a:lnTo>
                    <a:pt x="4277461" y="31750"/>
                  </a:lnTo>
                  <a:lnTo>
                    <a:pt x="3154857" y="31750"/>
                  </a:lnTo>
                  <a:lnTo>
                    <a:pt x="3152013" y="34594"/>
                  </a:lnTo>
                  <a:lnTo>
                    <a:pt x="3152013" y="1928139"/>
                  </a:lnTo>
                  <a:lnTo>
                    <a:pt x="0" y="1928139"/>
                  </a:lnTo>
                  <a:lnTo>
                    <a:pt x="0" y="1940839"/>
                  </a:lnTo>
                  <a:lnTo>
                    <a:pt x="3161868" y="1940839"/>
                  </a:lnTo>
                  <a:lnTo>
                    <a:pt x="3164713" y="1937994"/>
                  </a:lnTo>
                  <a:lnTo>
                    <a:pt x="3164713" y="1934489"/>
                  </a:lnTo>
                  <a:lnTo>
                    <a:pt x="3164713" y="1928139"/>
                  </a:lnTo>
                  <a:lnTo>
                    <a:pt x="3164713" y="44450"/>
                  </a:lnTo>
                  <a:lnTo>
                    <a:pt x="4277461" y="44450"/>
                  </a:lnTo>
                  <a:lnTo>
                    <a:pt x="4277461" y="76200"/>
                  </a:lnTo>
                  <a:lnTo>
                    <a:pt x="4340961" y="44450"/>
                  </a:lnTo>
                  <a:lnTo>
                    <a:pt x="4353661" y="38100"/>
                  </a:lnTo>
                  <a:close/>
                </a:path>
                <a:path w="7696834" h="1941195">
                  <a:moveTo>
                    <a:pt x="6411176" y="1857336"/>
                  </a:moveTo>
                  <a:lnTo>
                    <a:pt x="6398476" y="1850986"/>
                  </a:lnTo>
                  <a:lnTo>
                    <a:pt x="6334976" y="1819236"/>
                  </a:lnTo>
                  <a:lnTo>
                    <a:pt x="6334976" y="1850986"/>
                  </a:lnTo>
                  <a:lnTo>
                    <a:pt x="4798250" y="1850986"/>
                  </a:lnTo>
                  <a:lnTo>
                    <a:pt x="4798250" y="1646339"/>
                  </a:lnTo>
                  <a:lnTo>
                    <a:pt x="4785550" y="1646339"/>
                  </a:lnTo>
                  <a:lnTo>
                    <a:pt x="4785550" y="1860842"/>
                  </a:lnTo>
                  <a:lnTo>
                    <a:pt x="4788395" y="1863686"/>
                  </a:lnTo>
                  <a:lnTo>
                    <a:pt x="6334976" y="1863686"/>
                  </a:lnTo>
                  <a:lnTo>
                    <a:pt x="6334976" y="1895436"/>
                  </a:lnTo>
                  <a:lnTo>
                    <a:pt x="6398476" y="1863686"/>
                  </a:lnTo>
                  <a:lnTo>
                    <a:pt x="6411176" y="1857336"/>
                  </a:lnTo>
                  <a:close/>
                </a:path>
                <a:path w="7696834" h="1941195">
                  <a:moveTo>
                    <a:pt x="6830022" y="401815"/>
                  </a:moveTo>
                  <a:lnTo>
                    <a:pt x="6817322" y="395465"/>
                  </a:lnTo>
                  <a:lnTo>
                    <a:pt x="6753822" y="363715"/>
                  </a:lnTo>
                  <a:lnTo>
                    <a:pt x="6753822" y="395465"/>
                  </a:lnTo>
                  <a:lnTo>
                    <a:pt x="6253378" y="395465"/>
                  </a:lnTo>
                  <a:lnTo>
                    <a:pt x="6253378" y="161467"/>
                  </a:lnTo>
                  <a:lnTo>
                    <a:pt x="6253378" y="155117"/>
                  </a:lnTo>
                  <a:lnTo>
                    <a:pt x="6253378" y="151612"/>
                  </a:lnTo>
                  <a:lnTo>
                    <a:pt x="6250533" y="148767"/>
                  </a:lnTo>
                  <a:lnTo>
                    <a:pt x="5664035" y="148767"/>
                  </a:lnTo>
                  <a:lnTo>
                    <a:pt x="5664035" y="161467"/>
                  </a:lnTo>
                  <a:lnTo>
                    <a:pt x="6240678" y="161467"/>
                  </a:lnTo>
                  <a:lnTo>
                    <a:pt x="6240678" y="405320"/>
                  </a:lnTo>
                  <a:lnTo>
                    <a:pt x="6243523" y="408165"/>
                  </a:lnTo>
                  <a:lnTo>
                    <a:pt x="6753822" y="408165"/>
                  </a:lnTo>
                  <a:lnTo>
                    <a:pt x="6753822" y="439915"/>
                  </a:lnTo>
                  <a:lnTo>
                    <a:pt x="6817322" y="408165"/>
                  </a:lnTo>
                  <a:lnTo>
                    <a:pt x="6830022" y="401815"/>
                  </a:lnTo>
                  <a:close/>
                </a:path>
                <a:path w="7696834" h="1941195">
                  <a:moveTo>
                    <a:pt x="7696746" y="601865"/>
                  </a:moveTo>
                  <a:lnTo>
                    <a:pt x="7684046" y="601865"/>
                  </a:lnTo>
                  <a:lnTo>
                    <a:pt x="7684046" y="1220381"/>
                  </a:lnTo>
                  <a:lnTo>
                    <a:pt x="5987148" y="1220381"/>
                  </a:lnTo>
                  <a:lnTo>
                    <a:pt x="5987148" y="1188631"/>
                  </a:lnTo>
                  <a:lnTo>
                    <a:pt x="5910948" y="1226731"/>
                  </a:lnTo>
                  <a:lnTo>
                    <a:pt x="5987148" y="1264831"/>
                  </a:lnTo>
                  <a:lnTo>
                    <a:pt x="5987148" y="1233081"/>
                  </a:lnTo>
                  <a:lnTo>
                    <a:pt x="7693901" y="1233081"/>
                  </a:lnTo>
                  <a:lnTo>
                    <a:pt x="7696746" y="1230236"/>
                  </a:lnTo>
                  <a:lnTo>
                    <a:pt x="7696746" y="1226731"/>
                  </a:lnTo>
                  <a:lnTo>
                    <a:pt x="7696746" y="1220381"/>
                  </a:lnTo>
                  <a:lnTo>
                    <a:pt x="7696746" y="601865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9345167" y="3450335"/>
              <a:ext cx="323088" cy="329183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9189719" y="3307079"/>
              <a:ext cx="606551" cy="615696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7994904" y="3834383"/>
              <a:ext cx="323088" cy="326136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004060" y="4343933"/>
              <a:ext cx="5925185" cy="76200"/>
            </a:xfrm>
            <a:custGeom>
              <a:avLst/>
              <a:gdLst/>
              <a:ahLst/>
              <a:cxnLst/>
              <a:rect l="l" t="t" r="r" b="b"/>
              <a:pathLst>
                <a:path w="5925184" h="76200">
                  <a:moveTo>
                    <a:pt x="5848718" y="0"/>
                  </a:moveTo>
                  <a:lnTo>
                    <a:pt x="5848718" y="76199"/>
                  </a:lnTo>
                  <a:lnTo>
                    <a:pt x="5905868" y="47624"/>
                  </a:lnTo>
                  <a:lnTo>
                    <a:pt x="5861418" y="47624"/>
                  </a:lnTo>
                  <a:lnTo>
                    <a:pt x="5861418" y="28574"/>
                  </a:lnTo>
                  <a:lnTo>
                    <a:pt x="5905868" y="28574"/>
                  </a:lnTo>
                  <a:lnTo>
                    <a:pt x="5848718" y="0"/>
                  </a:lnTo>
                  <a:close/>
                </a:path>
                <a:path w="5925184" h="76200">
                  <a:moveTo>
                    <a:pt x="5848718" y="28574"/>
                  </a:moveTo>
                  <a:lnTo>
                    <a:pt x="0" y="28574"/>
                  </a:lnTo>
                  <a:lnTo>
                    <a:pt x="0" y="47624"/>
                  </a:lnTo>
                  <a:lnTo>
                    <a:pt x="5848718" y="47624"/>
                  </a:lnTo>
                  <a:lnTo>
                    <a:pt x="5848718" y="28574"/>
                  </a:lnTo>
                  <a:close/>
                </a:path>
                <a:path w="5925184" h="76200">
                  <a:moveTo>
                    <a:pt x="5905868" y="28574"/>
                  </a:moveTo>
                  <a:lnTo>
                    <a:pt x="5861418" y="28574"/>
                  </a:lnTo>
                  <a:lnTo>
                    <a:pt x="5861418" y="47624"/>
                  </a:lnTo>
                  <a:lnTo>
                    <a:pt x="5905868" y="47624"/>
                  </a:lnTo>
                  <a:lnTo>
                    <a:pt x="5924918" y="38099"/>
                  </a:lnTo>
                  <a:lnTo>
                    <a:pt x="5905868" y="28574"/>
                  </a:lnTo>
                  <a:close/>
                </a:path>
              </a:pathLst>
            </a:custGeom>
            <a:solidFill>
              <a:srgbClr val="6B00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7842504" y="3688079"/>
              <a:ext cx="606551" cy="615695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4392942" y="4875313"/>
              <a:ext cx="6908165" cy="1042669"/>
            </a:xfrm>
            <a:custGeom>
              <a:avLst/>
              <a:gdLst/>
              <a:ahLst/>
              <a:cxnLst/>
              <a:rect l="l" t="t" r="r" b="b"/>
              <a:pathLst>
                <a:path w="6908165" h="1042670">
                  <a:moveTo>
                    <a:pt x="4449330" y="5918"/>
                  </a:moveTo>
                  <a:lnTo>
                    <a:pt x="4436630" y="5918"/>
                  </a:lnTo>
                  <a:lnTo>
                    <a:pt x="4436630" y="788250"/>
                  </a:lnTo>
                  <a:lnTo>
                    <a:pt x="76200" y="788250"/>
                  </a:lnTo>
                  <a:lnTo>
                    <a:pt x="76200" y="756500"/>
                  </a:lnTo>
                  <a:lnTo>
                    <a:pt x="0" y="794600"/>
                  </a:lnTo>
                  <a:lnTo>
                    <a:pt x="76200" y="832700"/>
                  </a:lnTo>
                  <a:lnTo>
                    <a:pt x="76200" y="800950"/>
                  </a:lnTo>
                  <a:lnTo>
                    <a:pt x="4446486" y="800950"/>
                  </a:lnTo>
                  <a:lnTo>
                    <a:pt x="4449330" y="798106"/>
                  </a:lnTo>
                  <a:lnTo>
                    <a:pt x="4449330" y="794600"/>
                  </a:lnTo>
                  <a:lnTo>
                    <a:pt x="4449330" y="788250"/>
                  </a:lnTo>
                  <a:lnTo>
                    <a:pt x="4449330" y="5918"/>
                  </a:lnTo>
                  <a:close/>
                </a:path>
                <a:path w="6908165" h="1042670">
                  <a:moveTo>
                    <a:pt x="6907543" y="0"/>
                  </a:moveTo>
                  <a:lnTo>
                    <a:pt x="6894843" y="0"/>
                  </a:lnTo>
                  <a:lnTo>
                    <a:pt x="6894843" y="997889"/>
                  </a:lnTo>
                  <a:lnTo>
                    <a:pt x="76200" y="997889"/>
                  </a:lnTo>
                  <a:lnTo>
                    <a:pt x="76200" y="966139"/>
                  </a:lnTo>
                  <a:lnTo>
                    <a:pt x="0" y="1004239"/>
                  </a:lnTo>
                  <a:lnTo>
                    <a:pt x="76200" y="1042339"/>
                  </a:lnTo>
                  <a:lnTo>
                    <a:pt x="76200" y="1010589"/>
                  </a:lnTo>
                  <a:lnTo>
                    <a:pt x="6904698" y="1010589"/>
                  </a:lnTo>
                  <a:lnTo>
                    <a:pt x="6907543" y="1007745"/>
                  </a:lnTo>
                  <a:lnTo>
                    <a:pt x="6907543" y="1004239"/>
                  </a:lnTo>
                  <a:lnTo>
                    <a:pt x="6907543" y="997889"/>
                  </a:lnTo>
                  <a:lnTo>
                    <a:pt x="6907543" y="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996372" y="2022243"/>
              <a:ext cx="966469" cy="3380104"/>
            </a:xfrm>
            <a:custGeom>
              <a:avLst/>
              <a:gdLst/>
              <a:ahLst/>
              <a:cxnLst/>
              <a:rect l="l" t="t" r="r" b="b"/>
              <a:pathLst>
                <a:path w="966470" h="3380104">
                  <a:moveTo>
                    <a:pt x="0" y="3380031"/>
                  </a:moveTo>
                  <a:lnTo>
                    <a:pt x="0" y="1941691"/>
                  </a:lnTo>
                  <a:lnTo>
                    <a:pt x="966347" y="1941691"/>
                  </a:lnTo>
                  <a:lnTo>
                    <a:pt x="966347" y="0"/>
                  </a:lnTo>
                </a:path>
              </a:pathLst>
            </a:custGeom>
            <a:ln w="12700">
              <a:solidFill>
                <a:srgbClr val="B7B1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4953495" y="1984133"/>
              <a:ext cx="1483995" cy="76200"/>
            </a:xfrm>
            <a:custGeom>
              <a:avLst/>
              <a:gdLst/>
              <a:ahLst/>
              <a:cxnLst/>
              <a:rect l="l" t="t" r="r" b="b"/>
              <a:pathLst>
                <a:path w="1483995" h="76200">
                  <a:moveTo>
                    <a:pt x="38100" y="31750"/>
                  </a:moveTo>
                  <a:lnTo>
                    <a:pt x="0" y="31750"/>
                  </a:lnTo>
                  <a:lnTo>
                    <a:pt x="0" y="44450"/>
                  </a:lnTo>
                  <a:lnTo>
                    <a:pt x="38100" y="44450"/>
                  </a:lnTo>
                  <a:lnTo>
                    <a:pt x="38100" y="31750"/>
                  </a:lnTo>
                  <a:close/>
                </a:path>
                <a:path w="1483995" h="76200">
                  <a:moveTo>
                    <a:pt x="88900" y="31750"/>
                  </a:moveTo>
                  <a:lnTo>
                    <a:pt x="50800" y="31750"/>
                  </a:lnTo>
                  <a:lnTo>
                    <a:pt x="50800" y="44450"/>
                  </a:lnTo>
                  <a:lnTo>
                    <a:pt x="88900" y="44450"/>
                  </a:lnTo>
                  <a:lnTo>
                    <a:pt x="88900" y="31750"/>
                  </a:lnTo>
                  <a:close/>
                </a:path>
                <a:path w="1483995" h="76200">
                  <a:moveTo>
                    <a:pt x="139700" y="31750"/>
                  </a:moveTo>
                  <a:lnTo>
                    <a:pt x="101600" y="31750"/>
                  </a:lnTo>
                  <a:lnTo>
                    <a:pt x="101600" y="44450"/>
                  </a:lnTo>
                  <a:lnTo>
                    <a:pt x="139700" y="44450"/>
                  </a:lnTo>
                  <a:lnTo>
                    <a:pt x="139700" y="31750"/>
                  </a:lnTo>
                  <a:close/>
                </a:path>
                <a:path w="1483995" h="76200">
                  <a:moveTo>
                    <a:pt x="190500" y="31750"/>
                  </a:moveTo>
                  <a:lnTo>
                    <a:pt x="152400" y="31750"/>
                  </a:lnTo>
                  <a:lnTo>
                    <a:pt x="152400" y="44450"/>
                  </a:lnTo>
                  <a:lnTo>
                    <a:pt x="190500" y="44450"/>
                  </a:lnTo>
                  <a:lnTo>
                    <a:pt x="190500" y="31750"/>
                  </a:lnTo>
                  <a:close/>
                </a:path>
                <a:path w="1483995" h="76200">
                  <a:moveTo>
                    <a:pt x="241300" y="31750"/>
                  </a:moveTo>
                  <a:lnTo>
                    <a:pt x="203200" y="31750"/>
                  </a:lnTo>
                  <a:lnTo>
                    <a:pt x="203200" y="44450"/>
                  </a:lnTo>
                  <a:lnTo>
                    <a:pt x="241300" y="44450"/>
                  </a:lnTo>
                  <a:lnTo>
                    <a:pt x="241300" y="31750"/>
                  </a:lnTo>
                  <a:close/>
                </a:path>
                <a:path w="1483995" h="76200">
                  <a:moveTo>
                    <a:pt x="292100" y="31750"/>
                  </a:moveTo>
                  <a:lnTo>
                    <a:pt x="254000" y="31750"/>
                  </a:lnTo>
                  <a:lnTo>
                    <a:pt x="254000" y="44450"/>
                  </a:lnTo>
                  <a:lnTo>
                    <a:pt x="292100" y="44450"/>
                  </a:lnTo>
                  <a:lnTo>
                    <a:pt x="292100" y="31750"/>
                  </a:lnTo>
                  <a:close/>
                </a:path>
                <a:path w="1483995" h="76200">
                  <a:moveTo>
                    <a:pt x="342900" y="31750"/>
                  </a:moveTo>
                  <a:lnTo>
                    <a:pt x="304800" y="31750"/>
                  </a:lnTo>
                  <a:lnTo>
                    <a:pt x="304800" y="44450"/>
                  </a:lnTo>
                  <a:lnTo>
                    <a:pt x="342900" y="44450"/>
                  </a:lnTo>
                  <a:lnTo>
                    <a:pt x="342900" y="31750"/>
                  </a:lnTo>
                  <a:close/>
                </a:path>
                <a:path w="1483995" h="76200">
                  <a:moveTo>
                    <a:pt x="393700" y="31750"/>
                  </a:moveTo>
                  <a:lnTo>
                    <a:pt x="355600" y="31750"/>
                  </a:lnTo>
                  <a:lnTo>
                    <a:pt x="355600" y="44450"/>
                  </a:lnTo>
                  <a:lnTo>
                    <a:pt x="393700" y="44450"/>
                  </a:lnTo>
                  <a:lnTo>
                    <a:pt x="393700" y="31750"/>
                  </a:lnTo>
                  <a:close/>
                </a:path>
                <a:path w="1483995" h="76200">
                  <a:moveTo>
                    <a:pt x="444500" y="31750"/>
                  </a:moveTo>
                  <a:lnTo>
                    <a:pt x="406400" y="31750"/>
                  </a:lnTo>
                  <a:lnTo>
                    <a:pt x="406400" y="44450"/>
                  </a:lnTo>
                  <a:lnTo>
                    <a:pt x="444500" y="44450"/>
                  </a:lnTo>
                  <a:lnTo>
                    <a:pt x="444500" y="31750"/>
                  </a:lnTo>
                  <a:close/>
                </a:path>
                <a:path w="1483995" h="76200">
                  <a:moveTo>
                    <a:pt x="495300" y="31750"/>
                  </a:moveTo>
                  <a:lnTo>
                    <a:pt x="457200" y="31750"/>
                  </a:lnTo>
                  <a:lnTo>
                    <a:pt x="457200" y="44450"/>
                  </a:lnTo>
                  <a:lnTo>
                    <a:pt x="495300" y="44450"/>
                  </a:lnTo>
                  <a:lnTo>
                    <a:pt x="495300" y="31750"/>
                  </a:lnTo>
                  <a:close/>
                </a:path>
                <a:path w="1483995" h="76200">
                  <a:moveTo>
                    <a:pt x="546100" y="31750"/>
                  </a:moveTo>
                  <a:lnTo>
                    <a:pt x="508000" y="31750"/>
                  </a:lnTo>
                  <a:lnTo>
                    <a:pt x="508000" y="44450"/>
                  </a:lnTo>
                  <a:lnTo>
                    <a:pt x="546100" y="44450"/>
                  </a:lnTo>
                  <a:lnTo>
                    <a:pt x="546100" y="31750"/>
                  </a:lnTo>
                  <a:close/>
                </a:path>
                <a:path w="1483995" h="76200">
                  <a:moveTo>
                    <a:pt x="596900" y="31750"/>
                  </a:moveTo>
                  <a:lnTo>
                    <a:pt x="558800" y="31750"/>
                  </a:lnTo>
                  <a:lnTo>
                    <a:pt x="558800" y="44450"/>
                  </a:lnTo>
                  <a:lnTo>
                    <a:pt x="596900" y="44450"/>
                  </a:lnTo>
                  <a:lnTo>
                    <a:pt x="596900" y="31750"/>
                  </a:lnTo>
                  <a:close/>
                </a:path>
                <a:path w="1483995" h="76200">
                  <a:moveTo>
                    <a:pt x="647700" y="31750"/>
                  </a:moveTo>
                  <a:lnTo>
                    <a:pt x="609600" y="31750"/>
                  </a:lnTo>
                  <a:lnTo>
                    <a:pt x="609600" y="44450"/>
                  </a:lnTo>
                  <a:lnTo>
                    <a:pt x="647700" y="44450"/>
                  </a:lnTo>
                  <a:lnTo>
                    <a:pt x="647700" y="31750"/>
                  </a:lnTo>
                  <a:close/>
                </a:path>
                <a:path w="1483995" h="76200">
                  <a:moveTo>
                    <a:pt x="698500" y="31750"/>
                  </a:moveTo>
                  <a:lnTo>
                    <a:pt x="660400" y="31750"/>
                  </a:lnTo>
                  <a:lnTo>
                    <a:pt x="660400" y="44450"/>
                  </a:lnTo>
                  <a:lnTo>
                    <a:pt x="698500" y="44450"/>
                  </a:lnTo>
                  <a:lnTo>
                    <a:pt x="698500" y="31750"/>
                  </a:lnTo>
                  <a:close/>
                </a:path>
                <a:path w="1483995" h="76200">
                  <a:moveTo>
                    <a:pt x="749300" y="31750"/>
                  </a:moveTo>
                  <a:lnTo>
                    <a:pt x="711200" y="31750"/>
                  </a:lnTo>
                  <a:lnTo>
                    <a:pt x="711200" y="44450"/>
                  </a:lnTo>
                  <a:lnTo>
                    <a:pt x="749300" y="44450"/>
                  </a:lnTo>
                  <a:lnTo>
                    <a:pt x="749300" y="31750"/>
                  </a:lnTo>
                  <a:close/>
                </a:path>
                <a:path w="1483995" h="76200">
                  <a:moveTo>
                    <a:pt x="800100" y="31750"/>
                  </a:moveTo>
                  <a:lnTo>
                    <a:pt x="762000" y="31750"/>
                  </a:lnTo>
                  <a:lnTo>
                    <a:pt x="762000" y="44450"/>
                  </a:lnTo>
                  <a:lnTo>
                    <a:pt x="800100" y="44450"/>
                  </a:lnTo>
                  <a:lnTo>
                    <a:pt x="800100" y="31750"/>
                  </a:lnTo>
                  <a:close/>
                </a:path>
                <a:path w="1483995" h="76200">
                  <a:moveTo>
                    <a:pt x="850900" y="31750"/>
                  </a:moveTo>
                  <a:lnTo>
                    <a:pt x="812800" y="31750"/>
                  </a:lnTo>
                  <a:lnTo>
                    <a:pt x="812800" y="44450"/>
                  </a:lnTo>
                  <a:lnTo>
                    <a:pt x="850900" y="44450"/>
                  </a:lnTo>
                  <a:lnTo>
                    <a:pt x="850900" y="31750"/>
                  </a:lnTo>
                  <a:close/>
                </a:path>
                <a:path w="1483995" h="76200">
                  <a:moveTo>
                    <a:pt x="901700" y="31750"/>
                  </a:moveTo>
                  <a:lnTo>
                    <a:pt x="863600" y="31750"/>
                  </a:lnTo>
                  <a:lnTo>
                    <a:pt x="863600" y="44450"/>
                  </a:lnTo>
                  <a:lnTo>
                    <a:pt x="901700" y="44450"/>
                  </a:lnTo>
                  <a:lnTo>
                    <a:pt x="901700" y="31750"/>
                  </a:lnTo>
                  <a:close/>
                </a:path>
                <a:path w="1483995" h="76200">
                  <a:moveTo>
                    <a:pt x="952500" y="31750"/>
                  </a:moveTo>
                  <a:lnTo>
                    <a:pt x="914400" y="31750"/>
                  </a:lnTo>
                  <a:lnTo>
                    <a:pt x="914400" y="44450"/>
                  </a:lnTo>
                  <a:lnTo>
                    <a:pt x="952500" y="44450"/>
                  </a:lnTo>
                  <a:lnTo>
                    <a:pt x="952500" y="31750"/>
                  </a:lnTo>
                  <a:close/>
                </a:path>
                <a:path w="1483995" h="76200">
                  <a:moveTo>
                    <a:pt x="1003300" y="31750"/>
                  </a:moveTo>
                  <a:lnTo>
                    <a:pt x="965200" y="31750"/>
                  </a:lnTo>
                  <a:lnTo>
                    <a:pt x="965200" y="44450"/>
                  </a:lnTo>
                  <a:lnTo>
                    <a:pt x="1003300" y="44450"/>
                  </a:lnTo>
                  <a:lnTo>
                    <a:pt x="1003300" y="31750"/>
                  </a:lnTo>
                  <a:close/>
                </a:path>
                <a:path w="1483995" h="76200">
                  <a:moveTo>
                    <a:pt x="1054100" y="31750"/>
                  </a:moveTo>
                  <a:lnTo>
                    <a:pt x="1016000" y="31750"/>
                  </a:lnTo>
                  <a:lnTo>
                    <a:pt x="1016000" y="44450"/>
                  </a:lnTo>
                  <a:lnTo>
                    <a:pt x="1054100" y="44450"/>
                  </a:lnTo>
                  <a:lnTo>
                    <a:pt x="1054100" y="31750"/>
                  </a:lnTo>
                  <a:close/>
                </a:path>
                <a:path w="1483995" h="76200">
                  <a:moveTo>
                    <a:pt x="1104900" y="31750"/>
                  </a:moveTo>
                  <a:lnTo>
                    <a:pt x="1066800" y="31750"/>
                  </a:lnTo>
                  <a:lnTo>
                    <a:pt x="1066800" y="44450"/>
                  </a:lnTo>
                  <a:lnTo>
                    <a:pt x="1104900" y="44450"/>
                  </a:lnTo>
                  <a:lnTo>
                    <a:pt x="1104900" y="31750"/>
                  </a:lnTo>
                  <a:close/>
                </a:path>
                <a:path w="1483995" h="76200">
                  <a:moveTo>
                    <a:pt x="1155700" y="31750"/>
                  </a:moveTo>
                  <a:lnTo>
                    <a:pt x="1117600" y="31750"/>
                  </a:lnTo>
                  <a:lnTo>
                    <a:pt x="1117600" y="44450"/>
                  </a:lnTo>
                  <a:lnTo>
                    <a:pt x="1155700" y="44450"/>
                  </a:lnTo>
                  <a:lnTo>
                    <a:pt x="1155700" y="31750"/>
                  </a:lnTo>
                  <a:close/>
                </a:path>
                <a:path w="1483995" h="76200">
                  <a:moveTo>
                    <a:pt x="1206500" y="31750"/>
                  </a:moveTo>
                  <a:lnTo>
                    <a:pt x="1168400" y="31750"/>
                  </a:lnTo>
                  <a:lnTo>
                    <a:pt x="1168400" y="44450"/>
                  </a:lnTo>
                  <a:lnTo>
                    <a:pt x="1206500" y="44450"/>
                  </a:lnTo>
                  <a:lnTo>
                    <a:pt x="1206500" y="31750"/>
                  </a:lnTo>
                  <a:close/>
                </a:path>
                <a:path w="1483995" h="76200">
                  <a:moveTo>
                    <a:pt x="1257300" y="31750"/>
                  </a:moveTo>
                  <a:lnTo>
                    <a:pt x="1219200" y="31750"/>
                  </a:lnTo>
                  <a:lnTo>
                    <a:pt x="1219200" y="44450"/>
                  </a:lnTo>
                  <a:lnTo>
                    <a:pt x="1257300" y="44450"/>
                  </a:lnTo>
                  <a:lnTo>
                    <a:pt x="1257300" y="31750"/>
                  </a:lnTo>
                  <a:close/>
                </a:path>
                <a:path w="1483995" h="76200">
                  <a:moveTo>
                    <a:pt x="1308100" y="31750"/>
                  </a:moveTo>
                  <a:lnTo>
                    <a:pt x="1270000" y="31750"/>
                  </a:lnTo>
                  <a:lnTo>
                    <a:pt x="1270000" y="44450"/>
                  </a:lnTo>
                  <a:lnTo>
                    <a:pt x="1308100" y="44450"/>
                  </a:lnTo>
                  <a:lnTo>
                    <a:pt x="1308100" y="31750"/>
                  </a:lnTo>
                  <a:close/>
                </a:path>
                <a:path w="1483995" h="76200">
                  <a:moveTo>
                    <a:pt x="1358900" y="31750"/>
                  </a:moveTo>
                  <a:lnTo>
                    <a:pt x="1320800" y="31750"/>
                  </a:lnTo>
                  <a:lnTo>
                    <a:pt x="1320800" y="44450"/>
                  </a:lnTo>
                  <a:lnTo>
                    <a:pt x="1358900" y="44450"/>
                  </a:lnTo>
                  <a:lnTo>
                    <a:pt x="1358900" y="31750"/>
                  </a:lnTo>
                  <a:close/>
                </a:path>
                <a:path w="1483995" h="76200">
                  <a:moveTo>
                    <a:pt x="1407439" y="0"/>
                  </a:moveTo>
                  <a:lnTo>
                    <a:pt x="1407439" y="76200"/>
                  </a:lnTo>
                  <a:lnTo>
                    <a:pt x="1470939" y="44450"/>
                  </a:lnTo>
                  <a:lnTo>
                    <a:pt x="1409700" y="44450"/>
                  </a:lnTo>
                  <a:lnTo>
                    <a:pt x="1409700" y="31750"/>
                  </a:lnTo>
                  <a:lnTo>
                    <a:pt x="1470939" y="31750"/>
                  </a:lnTo>
                  <a:lnTo>
                    <a:pt x="1407439" y="0"/>
                  </a:lnTo>
                  <a:close/>
                </a:path>
                <a:path w="1483995" h="76200">
                  <a:moveTo>
                    <a:pt x="1407439" y="31750"/>
                  </a:moveTo>
                  <a:lnTo>
                    <a:pt x="1371600" y="31750"/>
                  </a:lnTo>
                  <a:lnTo>
                    <a:pt x="1371600" y="44450"/>
                  </a:lnTo>
                  <a:lnTo>
                    <a:pt x="1407439" y="44450"/>
                  </a:lnTo>
                  <a:lnTo>
                    <a:pt x="1407439" y="31750"/>
                  </a:lnTo>
                  <a:close/>
                </a:path>
                <a:path w="1483995" h="76200">
                  <a:moveTo>
                    <a:pt x="1470939" y="31750"/>
                  </a:moveTo>
                  <a:lnTo>
                    <a:pt x="1409700" y="31750"/>
                  </a:lnTo>
                  <a:lnTo>
                    <a:pt x="1409700" y="44450"/>
                  </a:lnTo>
                  <a:lnTo>
                    <a:pt x="1470939" y="44450"/>
                  </a:lnTo>
                  <a:lnTo>
                    <a:pt x="1483639" y="38100"/>
                  </a:lnTo>
                  <a:lnTo>
                    <a:pt x="1470939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9185872" y="3599230"/>
              <a:ext cx="180009" cy="179997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/>
          <p:nvPr/>
        </p:nvSpPr>
        <p:spPr>
          <a:xfrm>
            <a:off x="1366062" y="1992706"/>
            <a:ext cx="76200" cy="1784985"/>
          </a:xfrm>
          <a:custGeom>
            <a:avLst/>
            <a:gdLst/>
            <a:ahLst/>
            <a:cxnLst/>
            <a:rect l="l" t="t" r="r" b="b"/>
            <a:pathLst>
              <a:path w="76200" h="1784985">
                <a:moveTo>
                  <a:pt x="44450" y="1746834"/>
                </a:moveTo>
                <a:lnTo>
                  <a:pt x="31750" y="1746834"/>
                </a:lnTo>
                <a:lnTo>
                  <a:pt x="31750" y="1784934"/>
                </a:lnTo>
                <a:lnTo>
                  <a:pt x="44450" y="1784934"/>
                </a:lnTo>
                <a:lnTo>
                  <a:pt x="44450" y="1746834"/>
                </a:lnTo>
                <a:close/>
              </a:path>
              <a:path w="76200" h="1784985">
                <a:moveTo>
                  <a:pt x="44450" y="1696034"/>
                </a:moveTo>
                <a:lnTo>
                  <a:pt x="31750" y="1696034"/>
                </a:lnTo>
                <a:lnTo>
                  <a:pt x="31750" y="1734134"/>
                </a:lnTo>
                <a:lnTo>
                  <a:pt x="44450" y="1734134"/>
                </a:lnTo>
                <a:lnTo>
                  <a:pt x="44450" y="1696034"/>
                </a:lnTo>
                <a:close/>
              </a:path>
              <a:path w="76200" h="1784985">
                <a:moveTo>
                  <a:pt x="44450" y="1645234"/>
                </a:moveTo>
                <a:lnTo>
                  <a:pt x="31750" y="1645234"/>
                </a:lnTo>
                <a:lnTo>
                  <a:pt x="31750" y="1683334"/>
                </a:lnTo>
                <a:lnTo>
                  <a:pt x="44450" y="1683334"/>
                </a:lnTo>
                <a:lnTo>
                  <a:pt x="44450" y="1645234"/>
                </a:lnTo>
                <a:close/>
              </a:path>
              <a:path w="76200" h="1784985">
                <a:moveTo>
                  <a:pt x="44450" y="1594434"/>
                </a:moveTo>
                <a:lnTo>
                  <a:pt x="31750" y="1594434"/>
                </a:lnTo>
                <a:lnTo>
                  <a:pt x="31750" y="1632534"/>
                </a:lnTo>
                <a:lnTo>
                  <a:pt x="44450" y="1632534"/>
                </a:lnTo>
                <a:lnTo>
                  <a:pt x="44450" y="1594434"/>
                </a:lnTo>
                <a:close/>
              </a:path>
              <a:path w="76200" h="1784985">
                <a:moveTo>
                  <a:pt x="44450" y="1543634"/>
                </a:moveTo>
                <a:lnTo>
                  <a:pt x="31750" y="1543634"/>
                </a:lnTo>
                <a:lnTo>
                  <a:pt x="31750" y="1581734"/>
                </a:lnTo>
                <a:lnTo>
                  <a:pt x="44450" y="1581734"/>
                </a:lnTo>
                <a:lnTo>
                  <a:pt x="44450" y="1543634"/>
                </a:lnTo>
                <a:close/>
              </a:path>
              <a:path w="76200" h="1784985">
                <a:moveTo>
                  <a:pt x="44450" y="1492834"/>
                </a:moveTo>
                <a:lnTo>
                  <a:pt x="31750" y="1492834"/>
                </a:lnTo>
                <a:lnTo>
                  <a:pt x="31750" y="1530934"/>
                </a:lnTo>
                <a:lnTo>
                  <a:pt x="44450" y="1530934"/>
                </a:lnTo>
                <a:lnTo>
                  <a:pt x="44450" y="1492834"/>
                </a:lnTo>
                <a:close/>
              </a:path>
              <a:path w="76200" h="1784985">
                <a:moveTo>
                  <a:pt x="44450" y="1442034"/>
                </a:moveTo>
                <a:lnTo>
                  <a:pt x="31750" y="1442034"/>
                </a:lnTo>
                <a:lnTo>
                  <a:pt x="31750" y="1480134"/>
                </a:lnTo>
                <a:lnTo>
                  <a:pt x="44450" y="1480134"/>
                </a:lnTo>
                <a:lnTo>
                  <a:pt x="44450" y="1442034"/>
                </a:lnTo>
                <a:close/>
              </a:path>
              <a:path w="76200" h="1784985">
                <a:moveTo>
                  <a:pt x="44450" y="1391234"/>
                </a:moveTo>
                <a:lnTo>
                  <a:pt x="31750" y="1391234"/>
                </a:lnTo>
                <a:lnTo>
                  <a:pt x="31750" y="1429334"/>
                </a:lnTo>
                <a:lnTo>
                  <a:pt x="44450" y="1429334"/>
                </a:lnTo>
                <a:lnTo>
                  <a:pt x="44450" y="1391234"/>
                </a:lnTo>
                <a:close/>
              </a:path>
              <a:path w="76200" h="1784985">
                <a:moveTo>
                  <a:pt x="44450" y="1340434"/>
                </a:moveTo>
                <a:lnTo>
                  <a:pt x="31750" y="1340434"/>
                </a:lnTo>
                <a:lnTo>
                  <a:pt x="31750" y="1378534"/>
                </a:lnTo>
                <a:lnTo>
                  <a:pt x="44450" y="1378534"/>
                </a:lnTo>
                <a:lnTo>
                  <a:pt x="44450" y="1340434"/>
                </a:lnTo>
                <a:close/>
              </a:path>
              <a:path w="76200" h="1784985">
                <a:moveTo>
                  <a:pt x="44450" y="1289634"/>
                </a:moveTo>
                <a:lnTo>
                  <a:pt x="31750" y="1289634"/>
                </a:lnTo>
                <a:lnTo>
                  <a:pt x="31750" y="1327734"/>
                </a:lnTo>
                <a:lnTo>
                  <a:pt x="44450" y="1327734"/>
                </a:lnTo>
                <a:lnTo>
                  <a:pt x="44450" y="1289634"/>
                </a:lnTo>
                <a:close/>
              </a:path>
              <a:path w="76200" h="1784985">
                <a:moveTo>
                  <a:pt x="44450" y="1238834"/>
                </a:moveTo>
                <a:lnTo>
                  <a:pt x="31750" y="1238834"/>
                </a:lnTo>
                <a:lnTo>
                  <a:pt x="31750" y="1276934"/>
                </a:lnTo>
                <a:lnTo>
                  <a:pt x="44450" y="1276934"/>
                </a:lnTo>
                <a:lnTo>
                  <a:pt x="44450" y="1238834"/>
                </a:lnTo>
                <a:close/>
              </a:path>
              <a:path w="76200" h="1784985">
                <a:moveTo>
                  <a:pt x="44450" y="1188034"/>
                </a:moveTo>
                <a:lnTo>
                  <a:pt x="31750" y="1188034"/>
                </a:lnTo>
                <a:lnTo>
                  <a:pt x="31750" y="1226134"/>
                </a:lnTo>
                <a:lnTo>
                  <a:pt x="44450" y="1226134"/>
                </a:lnTo>
                <a:lnTo>
                  <a:pt x="44450" y="1188034"/>
                </a:lnTo>
                <a:close/>
              </a:path>
              <a:path w="76200" h="1784985">
                <a:moveTo>
                  <a:pt x="44450" y="1137234"/>
                </a:moveTo>
                <a:lnTo>
                  <a:pt x="31750" y="1137234"/>
                </a:lnTo>
                <a:lnTo>
                  <a:pt x="31750" y="1175334"/>
                </a:lnTo>
                <a:lnTo>
                  <a:pt x="44450" y="1175334"/>
                </a:lnTo>
                <a:lnTo>
                  <a:pt x="44450" y="1137234"/>
                </a:lnTo>
                <a:close/>
              </a:path>
              <a:path w="76200" h="1784985">
                <a:moveTo>
                  <a:pt x="44450" y="1086434"/>
                </a:moveTo>
                <a:lnTo>
                  <a:pt x="31750" y="1086434"/>
                </a:lnTo>
                <a:lnTo>
                  <a:pt x="31750" y="1124534"/>
                </a:lnTo>
                <a:lnTo>
                  <a:pt x="44450" y="1124534"/>
                </a:lnTo>
                <a:lnTo>
                  <a:pt x="44450" y="1086434"/>
                </a:lnTo>
                <a:close/>
              </a:path>
              <a:path w="76200" h="1784985">
                <a:moveTo>
                  <a:pt x="44450" y="1035634"/>
                </a:moveTo>
                <a:lnTo>
                  <a:pt x="31750" y="1035634"/>
                </a:lnTo>
                <a:lnTo>
                  <a:pt x="31750" y="1073734"/>
                </a:lnTo>
                <a:lnTo>
                  <a:pt x="44450" y="1073734"/>
                </a:lnTo>
                <a:lnTo>
                  <a:pt x="44450" y="1035634"/>
                </a:lnTo>
                <a:close/>
              </a:path>
              <a:path w="76200" h="1784985">
                <a:moveTo>
                  <a:pt x="44450" y="984834"/>
                </a:moveTo>
                <a:lnTo>
                  <a:pt x="31750" y="984834"/>
                </a:lnTo>
                <a:lnTo>
                  <a:pt x="31750" y="1022934"/>
                </a:lnTo>
                <a:lnTo>
                  <a:pt x="44450" y="1022934"/>
                </a:lnTo>
                <a:lnTo>
                  <a:pt x="44450" y="984834"/>
                </a:lnTo>
                <a:close/>
              </a:path>
              <a:path w="76200" h="1784985">
                <a:moveTo>
                  <a:pt x="44450" y="934034"/>
                </a:moveTo>
                <a:lnTo>
                  <a:pt x="31750" y="934034"/>
                </a:lnTo>
                <a:lnTo>
                  <a:pt x="31750" y="972134"/>
                </a:lnTo>
                <a:lnTo>
                  <a:pt x="44450" y="972134"/>
                </a:lnTo>
                <a:lnTo>
                  <a:pt x="44450" y="934034"/>
                </a:lnTo>
                <a:close/>
              </a:path>
              <a:path w="76200" h="1784985">
                <a:moveTo>
                  <a:pt x="44450" y="883234"/>
                </a:moveTo>
                <a:lnTo>
                  <a:pt x="31750" y="883234"/>
                </a:lnTo>
                <a:lnTo>
                  <a:pt x="31750" y="921334"/>
                </a:lnTo>
                <a:lnTo>
                  <a:pt x="44450" y="921334"/>
                </a:lnTo>
                <a:lnTo>
                  <a:pt x="44450" y="883234"/>
                </a:lnTo>
                <a:close/>
              </a:path>
              <a:path w="76200" h="1784985">
                <a:moveTo>
                  <a:pt x="44450" y="832434"/>
                </a:moveTo>
                <a:lnTo>
                  <a:pt x="31750" y="832434"/>
                </a:lnTo>
                <a:lnTo>
                  <a:pt x="31750" y="870534"/>
                </a:lnTo>
                <a:lnTo>
                  <a:pt x="44450" y="870534"/>
                </a:lnTo>
                <a:lnTo>
                  <a:pt x="44450" y="832434"/>
                </a:lnTo>
                <a:close/>
              </a:path>
              <a:path w="76200" h="1784985">
                <a:moveTo>
                  <a:pt x="44450" y="781634"/>
                </a:moveTo>
                <a:lnTo>
                  <a:pt x="31750" y="781634"/>
                </a:lnTo>
                <a:lnTo>
                  <a:pt x="31750" y="819734"/>
                </a:lnTo>
                <a:lnTo>
                  <a:pt x="44450" y="819734"/>
                </a:lnTo>
                <a:lnTo>
                  <a:pt x="44450" y="781634"/>
                </a:lnTo>
                <a:close/>
              </a:path>
              <a:path w="76200" h="1784985">
                <a:moveTo>
                  <a:pt x="44450" y="730834"/>
                </a:moveTo>
                <a:lnTo>
                  <a:pt x="31750" y="730834"/>
                </a:lnTo>
                <a:lnTo>
                  <a:pt x="31750" y="768934"/>
                </a:lnTo>
                <a:lnTo>
                  <a:pt x="44450" y="768934"/>
                </a:lnTo>
                <a:lnTo>
                  <a:pt x="44450" y="730834"/>
                </a:lnTo>
                <a:close/>
              </a:path>
              <a:path w="76200" h="1784985">
                <a:moveTo>
                  <a:pt x="44450" y="680034"/>
                </a:moveTo>
                <a:lnTo>
                  <a:pt x="31750" y="680034"/>
                </a:lnTo>
                <a:lnTo>
                  <a:pt x="31750" y="718134"/>
                </a:lnTo>
                <a:lnTo>
                  <a:pt x="44450" y="718134"/>
                </a:lnTo>
                <a:lnTo>
                  <a:pt x="44450" y="680034"/>
                </a:lnTo>
                <a:close/>
              </a:path>
              <a:path w="76200" h="1784985">
                <a:moveTo>
                  <a:pt x="44450" y="629234"/>
                </a:moveTo>
                <a:lnTo>
                  <a:pt x="31750" y="629234"/>
                </a:lnTo>
                <a:lnTo>
                  <a:pt x="31750" y="667334"/>
                </a:lnTo>
                <a:lnTo>
                  <a:pt x="44450" y="667334"/>
                </a:lnTo>
                <a:lnTo>
                  <a:pt x="44450" y="629234"/>
                </a:lnTo>
                <a:close/>
              </a:path>
              <a:path w="76200" h="1784985">
                <a:moveTo>
                  <a:pt x="44450" y="578434"/>
                </a:moveTo>
                <a:lnTo>
                  <a:pt x="31750" y="578434"/>
                </a:lnTo>
                <a:lnTo>
                  <a:pt x="31750" y="616534"/>
                </a:lnTo>
                <a:lnTo>
                  <a:pt x="44450" y="616534"/>
                </a:lnTo>
                <a:lnTo>
                  <a:pt x="44450" y="578434"/>
                </a:lnTo>
                <a:close/>
              </a:path>
              <a:path w="76200" h="1784985">
                <a:moveTo>
                  <a:pt x="44450" y="527634"/>
                </a:moveTo>
                <a:lnTo>
                  <a:pt x="31750" y="527634"/>
                </a:lnTo>
                <a:lnTo>
                  <a:pt x="31750" y="565734"/>
                </a:lnTo>
                <a:lnTo>
                  <a:pt x="44450" y="565734"/>
                </a:lnTo>
                <a:lnTo>
                  <a:pt x="44450" y="527634"/>
                </a:lnTo>
                <a:close/>
              </a:path>
              <a:path w="76200" h="1784985">
                <a:moveTo>
                  <a:pt x="44450" y="476834"/>
                </a:moveTo>
                <a:lnTo>
                  <a:pt x="31750" y="476834"/>
                </a:lnTo>
                <a:lnTo>
                  <a:pt x="31750" y="514934"/>
                </a:lnTo>
                <a:lnTo>
                  <a:pt x="44450" y="514934"/>
                </a:lnTo>
                <a:lnTo>
                  <a:pt x="44450" y="476834"/>
                </a:lnTo>
                <a:close/>
              </a:path>
              <a:path w="76200" h="1784985">
                <a:moveTo>
                  <a:pt x="44450" y="426034"/>
                </a:moveTo>
                <a:lnTo>
                  <a:pt x="31750" y="426034"/>
                </a:lnTo>
                <a:lnTo>
                  <a:pt x="31750" y="464134"/>
                </a:lnTo>
                <a:lnTo>
                  <a:pt x="44450" y="464134"/>
                </a:lnTo>
                <a:lnTo>
                  <a:pt x="44450" y="426034"/>
                </a:lnTo>
                <a:close/>
              </a:path>
              <a:path w="76200" h="1784985">
                <a:moveTo>
                  <a:pt x="44450" y="375234"/>
                </a:moveTo>
                <a:lnTo>
                  <a:pt x="31750" y="375234"/>
                </a:lnTo>
                <a:lnTo>
                  <a:pt x="31750" y="413334"/>
                </a:lnTo>
                <a:lnTo>
                  <a:pt x="44450" y="413334"/>
                </a:lnTo>
                <a:lnTo>
                  <a:pt x="44450" y="375234"/>
                </a:lnTo>
                <a:close/>
              </a:path>
              <a:path w="76200" h="1784985">
                <a:moveTo>
                  <a:pt x="44450" y="324434"/>
                </a:moveTo>
                <a:lnTo>
                  <a:pt x="31750" y="324434"/>
                </a:lnTo>
                <a:lnTo>
                  <a:pt x="31750" y="362534"/>
                </a:lnTo>
                <a:lnTo>
                  <a:pt x="44450" y="362534"/>
                </a:lnTo>
                <a:lnTo>
                  <a:pt x="44450" y="324434"/>
                </a:lnTo>
                <a:close/>
              </a:path>
              <a:path w="76200" h="1784985">
                <a:moveTo>
                  <a:pt x="44450" y="273634"/>
                </a:moveTo>
                <a:lnTo>
                  <a:pt x="31750" y="273634"/>
                </a:lnTo>
                <a:lnTo>
                  <a:pt x="31750" y="311734"/>
                </a:lnTo>
                <a:lnTo>
                  <a:pt x="44450" y="311734"/>
                </a:lnTo>
                <a:lnTo>
                  <a:pt x="44450" y="273634"/>
                </a:lnTo>
                <a:close/>
              </a:path>
              <a:path w="76200" h="1784985">
                <a:moveTo>
                  <a:pt x="44450" y="222834"/>
                </a:moveTo>
                <a:lnTo>
                  <a:pt x="31750" y="222834"/>
                </a:lnTo>
                <a:lnTo>
                  <a:pt x="31750" y="260934"/>
                </a:lnTo>
                <a:lnTo>
                  <a:pt x="44450" y="260934"/>
                </a:lnTo>
                <a:lnTo>
                  <a:pt x="44450" y="222834"/>
                </a:lnTo>
                <a:close/>
              </a:path>
              <a:path w="76200" h="1784985">
                <a:moveTo>
                  <a:pt x="44450" y="172034"/>
                </a:moveTo>
                <a:lnTo>
                  <a:pt x="31750" y="172034"/>
                </a:lnTo>
                <a:lnTo>
                  <a:pt x="31750" y="210134"/>
                </a:lnTo>
                <a:lnTo>
                  <a:pt x="44450" y="210134"/>
                </a:lnTo>
                <a:lnTo>
                  <a:pt x="44450" y="172034"/>
                </a:lnTo>
                <a:close/>
              </a:path>
              <a:path w="76200" h="1784985">
                <a:moveTo>
                  <a:pt x="44450" y="121234"/>
                </a:moveTo>
                <a:lnTo>
                  <a:pt x="31750" y="121234"/>
                </a:lnTo>
                <a:lnTo>
                  <a:pt x="31750" y="159334"/>
                </a:lnTo>
                <a:lnTo>
                  <a:pt x="44450" y="159334"/>
                </a:lnTo>
                <a:lnTo>
                  <a:pt x="44450" y="121234"/>
                </a:lnTo>
                <a:close/>
              </a:path>
              <a:path w="76200" h="1784985">
                <a:moveTo>
                  <a:pt x="44450" y="70434"/>
                </a:moveTo>
                <a:lnTo>
                  <a:pt x="31750" y="70434"/>
                </a:lnTo>
                <a:lnTo>
                  <a:pt x="31750" y="108534"/>
                </a:lnTo>
                <a:lnTo>
                  <a:pt x="44450" y="108534"/>
                </a:lnTo>
                <a:lnTo>
                  <a:pt x="44450" y="70434"/>
                </a:lnTo>
                <a:close/>
              </a:path>
              <a:path w="76200" h="1784985">
                <a:moveTo>
                  <a:pt x="38100" y="0"/>
                </a:moveTo>
                <a:lnTo>
                  <a:pt x="0" y="76200"/>
                </a:lnTo>
                <a:lnTo>
                  <a:pt x="31750" y="76200"/>
                </a:lnTo>
                <a:lnTo>
                  <a:pt x="31750" y="70434"/>
                </a:lnTo>
                <a:lnTo>
                  <a:pt x="73305" y="70434"/>
                </a:lnTo>
                <a:lnTo>
                  <a:pt x="38100" y="0"/>
                </a:lnTo>
                <a:close/>
              </a:path>
              <a:path w="76200" h="1784985">
                <a:moveTo>
                  <a:pt x="73305" y="70434"/>
                </a:moveTo>
                <a:lnTo>
                  <a:pt x="44450" y="70434"/>
                </a:lnTo>
                <a:lnTo>
                  <a:pt x="44450" y="76200"/>
                </a:lnTo>
                <a:lnTo>
                  <a:pt x="76187" y="76200"/>
                </a:lnTo>
                <a:lnTo>
                  <a:pt x="73305" y="70434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 txBox="1"/>
          <p:nvPr/>
        </p:nvSpPr>
        <p:spPr>
          <a:xfrm>
            <a:off x="9230626" y="3588003"/>
            <a:ext cx="9017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7861325" y="3984231"/>
            <a:ext cx="179997" cy="17999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7906080" y="3972051"/>
            <a:ext cx="9017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68" name="object 6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pc="-20" dirty="0"/>
              <a:t>17</a:t>
            </a:fld>
            <a:endParaRPr spc="-20"/>
          </a:p>
        </p:txBody>
      </p:sp>
      <p:sp>
        <p:nvSpPr>
          <p:cNvPr id="67" name="object 67"/>
          <p:cNvSpPr txBox="1">
            <a:spLocks noGrp="1"/>
          </p:cNvSpPr>
          <p:nvPr>
            <p:ph type="title"/>
          </p:nvPr>
        </p:nvSpPr>
        <p:spPr>
          <a:xfrm>
            <a:off x="588319" y="276859"/>
            <a:ext cx="52387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65"/>
              <a:t>MLOps </a:t>
            </a:r>
            <a:r>
              <a:rPr spc="-145"/>
              <a:t>conceptual </a:t>
            </a:r>
            <a:r>
              <a:rPr spc="-185"/>
              <a:t>reference</a:t>
            </a:r>
            <a:r>
              <a:rPr spc="-375"/>
              <a:t> </a:t>
            </a:r>
            <a:r>
              <a:rPr spc="-165"/>
              <a:t>architecture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728408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95"/>
              <a:t>Technical </a:t>
            </a:r>
            <a:r>
              <a:rPr spc="-130"/>
              <a:t>components </a:t>
            </a:r>
            <a:r>
              <a:rPr spc="-114"/>
              <a:t>and </a:t>
            </a:r>
            <a:r>
              <a:rPr spc="-135"/>
              <a:t>processes in </a:t>
            </a:r>
            <a:r>
              <a:rPr spc="-114"/>
              <a:t>an</a:t>
            </a:r>
            <a:r>
              <a:rPr spc="-370"/>
              <a:t> </a:t>
            </a:r>
            <a:r>
              <a:rPr spc="-110"/>
              <a:t>MLOps-system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127854"/>
              </p:ext>
            </p:extLst>
          </p:nvPr>
        </p:nvGraphicFramePr>
        <p:xfrm>
          <a:off x="658652" y="980160"/>
          <a:ext cx="10909934" cy="54054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265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8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568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683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7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29D5FF"/>
                      </a:solidFill>
                      <a:prstDash val="solid"/>
                    </a:lnR>
                    <a:lnB w="19050">
                      <a:solidFill>
                        <a:srgbClr val="29D5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400" b="1" spc="-50">
                          <a:latin typeface="Trebuchet MS"/>
                          <a:cs typeface="Trebuchet MS"/>
                        </a:rPr>
                        <a:t>What</a:t>
                      </a:r>
                      <a:endParaRPr sz="1400">
                        <a:latin typeface="Trebuchet MS"/>
                        <a:cs typeface="Trebuchet MS"/>
                      </a:endParaRPr>
                    </a:p>
                  </a:txBody>
                  <a:tcPr marL="0" marR="0" marT="52069" marB="0">
                    <a:lnL w="19050">
                      <a:solidFill>
                        <a:srgbClr val="29D5FF"/>
                      </a:solidFill>
                      <a:prstDash val="solid"/>
                    </a:lnL>
                    <a:lnB w="19050">
                      <a:solidFill>
                        <a:srgbClr val="29D5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400" b="1" spc="-55">
                          <a:latin typeface="Trebuchet MS"/>
                          <a:cs typeface="Trebuchet MS"/>
                        </a:rPr>
                        <a:t>Why</a:t>
                      </a:r>
                      <a:endParaRPr sz="1400">
                        <a:latin typeface="Trebuchet MS"/>
                        <a:cs typeface="Trebuchet MS"/>
                      </a:endParaRPr>
                    </a:p>
                  </a:txBody>
                  <a:tcPr marL="0" marR="0" marT="52069" marB="0">
                    <a:lnB w="19050">
                      <a:solidFill>
                        <a:srgbClr val="29D5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400" b="1" spc="-60">
                          <a:latin typeface="Trebuchet MS"/>
                          <a:cs typeface="Trebuchet MS"/>
                        </a:rPr>
                        <a:t>How</a:t>
                      </a:r>
                      <a:endParaRPr sz="1400">
                        <a:latin typeface="Trebuchet MS"/>
                        <a:cs typeface="Trebuchet MS"/>
                      </a:endParaRPr>
                    </a:p>
                  </a:txBody>
                  <a:tcPr marL="0" marR="0" marT="52069" marB="0">
                    <a:lnB w="19050">
                      <a:solidFill>
                        <a:srgbClr val="29D5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041">
                <a:tc>
                  <a:txBody>
                    <a:bodyPr/>
                    <a:lstStyle/>
                    <a:p>
                      <a:pPr marL="90805" marR="64706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25">
                          <a:latin typeface="Trebuchet MS"/>
                          <a:cs typeface="Trebuchet MS"/>
                        </a:rPr>
                        <a:t>Monitor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for</a:t>
                      </a:r>
                      <a:r>
                        <a:rPr sz="1000" b="1" spc="-204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model 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performance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  <a:lnT w="19050">
                      <a:solidFill>
                        <a:srgbClr val="29D5FF"/>
                      </a:solidFill>
                      <a:prstDash val="solid"/>
                    </a:lnT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18859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0">
                          <a:latin typeface="Trebuchet MS"/>
                          <a:cs typeface="Trebuchet MS"/>
                        </a:rPr>
                        <a:t>Automated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nitoring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results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production  over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time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  <a:lnT w="19050">
                      <a:solidFill>
                        <a:srgbClr val="29D5FF"/>
                      </a:solidFill>
                      <a:prstDash val="solid"/>
                    </a:lnT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16827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50">
                          <a:latin typeface="Trebuchet MS"/>
                          <a:cs typeface="Trebuchet MS"/>
                        </a:rPr>
                        <a:t>Know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when it’s time </a:t>
                      </a:r>
                      <a:r>
                        <a:rPr sz="1000" b="1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re-train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(model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decay)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due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changes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domain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we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modeling 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continuously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rack accuracy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a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hi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i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key  parameter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on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25">
                          <a:latin typeface="Trebuchet MS"/>
                          <a:cs typeface="Trebuchet MS"/>
                        </a:rPr>
                        <a:t>model's</a:t>
                      </a:r>
                      <a:r>
                        <a:rPr sz="1000" spc="-229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business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case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T w="19050">
                      <a:solidFill>
                        <a:srgbClr val="29D5FF"/>
                      </a:solidFill>
                      <a:prstDash val="solid"/>
                    </a:lnT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19558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5">
                          <a:latin typeface="Trebuchet MS"/>
                          <a:cs typeface="Trebuchet MS"/>
                        </a:rPr>
                        <a:t>Dashboard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rack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KPIs over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time.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Should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includ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capabilitie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mpare competing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s</a:t>
                      </a:r>
                      <a:r>
                        <a:rPr sz="1000" spc="-204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sam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arget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(where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nly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n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is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actually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use)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  <a:p>
                      <a:pPr marL="98425">
                        <a:lnSpc>
                          <a:spcPct val="100000"/>
                        </a:lnSpc>
                      </a:pPr>
                      <a:r>
                        <a:rPr sz="1000" spc="-10">
                          <a:latin typeface="Trebuchet MS"/>
                          <a:cs typeface="Trebuchet MS"/>
                        </a:rPr>
                        <a:t>Might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require control</a:t>
                      </a:r>
                      <a:r>
                        <a:rPr sz="1000" spc="-1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groups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T w="19050">
                      <a:solidFill>
                        <a:srgbClr val="29D5FF"/>
                      </a:solidFill>
                      <a:prstDash val="solid"/>
                    </a:lnT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3439">
                <a:tc>
                  <a:txBody>
                    <a:bodyPr/>
                    <a:lstStyle/>
                    <a:p>
                      <a:pPr marL="90805" marR="44323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25">
                          <a:latin typeface="Trebuchet MS"/>
                          <a:cs typeface="Trebuchet MS"/>
                        </a:rPr>
                        <a:t>Monitor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for</a:t>
                      </a:r>
                      <a:r>
                        <a:rPr sz="1000" b="1" spc="-22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generated 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business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value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805" marR="27432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0">
                          <a:latin typeface="Trebuchet MS"/>
                          <a:cs typeface="Trebuchet MS"/>
                        </a:rPr>
                        <a:t>Automated monitoring of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generated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business</a:t>
                      </a:r>
                      <a:r>
                        <a:rPr sz="1000" spc="-22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value.  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E.g.,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nitoring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if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busines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action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based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 result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generat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expected</a:t>
                      </a:r>
                      <a:r>
                        <a:rPr sz="1000" spc="-1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value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93980" marR="1873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65">
                          <a:latin typeface="Trebuchet MS"/>
                          <a:cs typeface="Trebuchet MS"/>
                        </a:rPr>
                        <a:t>Generated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business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valu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i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key parameter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</a:t>
                      </a:r>
                      <a:r>
                        <a:rPr sz="1000" spc="-229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rack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cros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functional team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when </a:t>
                      </a:r>
                      <a:r>
                        <a:rPr sz="1000" b="1" spc="-45">
                          <a:latin typeface="Trebuchet MS"/>
                          <a:cs typeface="Trebuchet MS"/>
                        </a:rPr>
                        <a:t>following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up  business side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action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creating a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positive  engagement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behind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necessary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changes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ways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working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tc>
                  <a:txBody>
                    <a:bodyPr/>
                    <a:lstStyle/>
                    <a:p>
                      <a:pPr marL="98425" marR="180340" algn="just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5">
                          <a:latin typeface="Trebuchet MS"/>
                          <a:cs typeface="Trebuchet MS"/>
                        </a:rPr>
                        <a:t>Dashboar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generated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business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value.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Will</a:t>
                      </a:r>
                      <a:r>
                        <a:rPr sz="1000" spc="-21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typically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require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experiment/control</a:t>
                      </a:r>
                      <a:r>
                        <a:rPr sz="1000" spc="-9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groups</a:t>
                      </a:r>
                      <a:r>
                        <a:rPr sz="1000" spc="-9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/B-testing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 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busines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ide</a:t>
                      </a:r>
                      <a:r>
                        <a:rPr sz="1000" spc="-12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actions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40">
                          <a:latin typeface="Trebuchet MS"/>
                          <a:cs typeface="Trebuchet MS"/>
                        </a:rPr>
                        <a:t>Data</a:t>
                      </a:r>
                      <a:r>
                        <a:rPr sz="1000" b="1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monitor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8826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0">
                          <a:latin typeface="Trebuchet MS"/>
                          <a:cs typeface="Trebuchet MS"/>
                        </a:rPr>
                        <a:t>Automated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nitoring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errors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drift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put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data, 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e.g.,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nitoring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characteristics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like mean, 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standard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deviation,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NULL’s,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min, 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max,</a:t>
                      </a:r>
                      <a:r>
                        <a:rPr sz="1000" spc="-1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etc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9080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55">
                          <a:latin typeface="Trebuchet MS"/>
                          <a:cs typeface="Trebuchet MS"/>
                        </a:rPr>
                        <a:t>Early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detection </a:t>
                      </a:r>
                      <a:r>
                        <a:rPr sz="1000" b="1" spc="-45">
                          <a:latin typeface="Trebuchet MS"/>
                          <a:cs typeface="Trebuchet MS"/>
                        </a:rPr>
                        <a:t>of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drift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characteristics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hat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will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requir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re-training.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Detect errors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b="1" spc="-22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deviations 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a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early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a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possible, 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e.g.,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whe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change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sources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not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nounced to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all</a:t>
                      </a:r>
                      <a:r>
                        <a:rPr sz="1000" spc="-23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lang="nb-NO" sz="1000" spc="-235">
                          <a:latin typeface="Trebuchet MS"/>
                          <a:cs typeface="Trebuchet MS"/>
                        </a:rPr>
                        <a:t>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eams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129539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5">
                          <a:latin typeface="Trebuchet MS"/>
                          <a:cs typeface="Trebuchet MS"/>
                        </a:rPr>
                        <a:t>Dashboard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on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put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(feature store).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Shoul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be  prepared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connect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his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a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rigger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CI/CD-tool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 automated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re-training. 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1039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75">
                          <a:latin typeface="Trebuchet MS"/>
                          <a:cs typeface="Trebuchet MS"/>
                        </a:rPr>
                        <a:t>Feature</a:t>
                      </a:r>
                      <a:r>
                        <a:rPr sz="1000" b="1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25">
                          <a:latin typeface="Trebuchet MS"/>
                          <a:cs typeface="Trebuchet MS"/>
                        </a:rPr>
                        <a:t>store</a:t>
                      </a:r>
                      <a:r>
                        <a:rPr sz="1000" spc="-25">
                          <a:latin typeface="Trebuchet MS"/>
                          <a:cs typeface="Trebuchet MS"/>
                        </a:rPr>
                        <a:t>*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805" marR="2419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0">
                          <a:latin typeface="Trebuchet MS"/>
                          <a:cs typeface="Trebuchet MS"/>
                        </a:rPr>
                        <a:t>One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mmon,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well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documented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set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features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hat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used a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put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models.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Also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known as 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analytical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bas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able</a:t>
                      </a:r>
                      <a:r>
                        <a:rPr sz="1000" spc="-14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(ABT)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93980" marR="15621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5">
                          <a:latin typeface="Trebuchet MS"/>
                          <a:cs typeface="Trebuchet MS"/>
                        </a:rPr>
                        <a:t>Avoi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developing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sam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features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multipl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imes</a:t>
                      </a:r>
                      <a:r>
                        <a:rPr sz="1000" spc="-21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different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s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will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save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time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data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development 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maintenanc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processing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capacity.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Re-us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can 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lso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increase</a:t>
                      </a:r>
                      <a:r>
                        <a:rPr sz="1000" b="1" spc="-12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quality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tc>
                  <a:txBody>
                    <a:bodyPr/>
                    <a:lstStyle/>
                    <a:p>
                      <a:pPr marL="98425" marR="19494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5">
                          <a:latin typeface="Trebuchet MS"/>
                          <a:cs typeface="Trebuchet MS"/>
                        </a:rPr>
                        <a:t>Implementation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options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will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depend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on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requirements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latency.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For many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us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ases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it’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</a:t>
                      </a:r>
                      <a:r>
                        <a:rPr sz="1000" spc="-25">
                          <a:latin typeface="Trebuchet MS"/>
                          <a:cs typeface="Trebuchet MS"/>
                        </a:rPr>
                        <a:t>good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opti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implement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his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as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(a)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wid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able(s)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with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ne row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per 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subject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</a:t>
                      </a:r>
                      <a:r>
                        <a:rPr sz="1000" spc="-13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prediction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90805" marR="2508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45">
                          <a:latin typeface="Trebuchet MS"/>
                          <a:cs typeface="Trebuchet MS"/>
                        </a:rPr>
                        <a:t>Modularized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b="1" spc="-1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reusable 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pipelines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14795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0">
                          <a:latin typeface="Trebuchet MS"/>
                          <a:cs typeface="Trebuchet MS"/>
                        </a:rPr>
                        <a:t>Comm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naming conventions an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tructures in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code.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eparati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 concern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code, 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e.g.,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 split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into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raining,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est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validation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uld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b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n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eparate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reusable code</a:t>
                      </a:r>
                      <a:r>
                        <a:rPr sz="1000" spc="-11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block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337820" algn="just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55">
                          <a:latin typeface="Trebuchet MS"/>
                          <a:cs typeface="Trebuchet MS"/>
                        </a:rPr>
                        <a:t>Improve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increase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cooperation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between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ata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scientists.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av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ime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when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getting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new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hires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up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speed.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Easier maintenanc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improvements and 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significant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time </a:t>
                      </a:r>
                      <a:r>
                        <a:rPr sz="1000" b="1" spc="-45">
                          <a:latin typeface="Trebuchet MS"/>
                          <a:cs typeface="Trebuchet MS"/>
                        </a:rPr>
                        <a:t>saving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by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avoiding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duplicate</a:t>
                      </a:r>
                      <a:r>
                        <a:rPr sz="1000" spc="-20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work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24574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30">
                          <a:latin typeface="Trebuchet MS"/>
                          <a:cs typeface="Trebuchet MS"/>
                        </a:rPr>
                        <a:t>Comm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naming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nventions,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common</a:t>
                      </a:r>
                      <a:r>
                        <a:rPr sz="1000" spc="-21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conventions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cod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ocumentation.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Us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 version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ntrol 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systems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(like</a:t>
                      </a:r>
                      <a:r>
                        <a:rPr sz="1000" spc="-12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git)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1042">
                <a:tc>
                  <a:txBody>
                    <a:bodyPr/>
                    <a:lstStyle/>
                    <a:p>
                      <a:pPr marL="90805" marR="17081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70">
                          <a:latin typeface="Trebuchet MS"/>
                          <a:cs typeface="Trebuchet MS"/>
                        </a:rPr>
                        <a:t>Experiment tracking,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model 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registry,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metadata</a:t>
                      </a:r>
                      <a:r>
                        <a:rPr sz="1000" b="1" spc="-11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store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805" marR="26035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50">
                          <a:latin typeface="Trebuchet MS"/>
                          <a:cs typeface="Trebuchet MS"/>
                        </a:rPr>
                        <a:t>Experiment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tracking,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registry,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metadata</a:t>
                      </a:r>
                      <a:r>
                        <a:rPr sz="1000" spc="-1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store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separat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functional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omponents, but often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delivere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ne</a:t>
                      </a:r>
                      <a:r>
                        <a:rPr sz="1000" spc="-14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tool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93980" marR="11938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5">
                          <a:latin typeface="Trebuchet MS"/>
                          <a:cs typeface="Trebuchet MS"/>
                        </a:rPr>
                        <a:t>Enabling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reproducibility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experiment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modelling 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cross environment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(personal sandboxes, 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dev/test/prod).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is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enables learning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ransparency  in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selection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spc="-23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development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process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tc>
                  <a:txBody>
                    <a:bodyPr/>
                    <a:lstStyle/>
                    <a:p>
                      <a:pPr marL="98425" marR="13208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6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ol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should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hav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graphical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user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interfac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programmatic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interfac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conducting analysi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d</a:t>
                      </a:r>
                      <a:r>
                        <a:rPr sz="1000" spc="-229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for 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us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with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an automation tool </a:t>
                      </a:r>
                      <a:r>
                        <a:rPr sz="1000" spc="-70">
                          <a:latin typeface="Trebuchet MS"/>
                          <a:cs typeface="Trebuchet MS"/>
                        </a:rPr>
                        <a:t>(CI/CD).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Example 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echnologies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MLFlow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r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Azure </a:t>
                      </a:r>
                      <a:r>
                        <a:rPr sz="1000" spc="-25">
                          <a:latin typeface="Trebuchet MS"/>
                          <a:cs typeface="Trebuchet MS"/>
                        </a:rPr>
                        <a:t>Machine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0">
                          <a:latin typeface="Trebuchet MS"/>
                          <a:cs typeface="Trebuchet MS"/>
                        </a:rPr>
                        <a:t>Learing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01037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50">
                          <a:latin typeface="Trebuchet MS"/>
                          <a:cs typeface="Trebuchet MS"/>
                        </a:rPr>
                        <a:t>Automated model</a:t>
                      </a:r>
                      <a:r>
                        <a:rPr sz="1000" b="1" spc="-114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training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R w="19050">
                      <a:solidFill>
                        <a:srgbClr val="29D5FF"/>
                      </a:solidFill>
                      <a:prstDash val="solid"/>
                    </a:lnR>
                    <a:lnB w="19050">
                      <a:solidFill>
                        <a:srgbClr val="CDCDCD"/>
                      </a:solidFill>
                      <a:prstDash val="soli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8636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40">
                          <a:latin typeface="Trebuchet MS"/>
                          <a:cs typeface="Trebuchet MS"/>
                        </a:rPr>
                        <a:t>Automated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raining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based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20">
                          <a:latin typeface="Trebuchet MS"/>
                          <a:cs typeface="Trebuchet MS"/>
                        </a:rPr>
                        <a:t>on</a:t>
                      </a:r>
                      <a:r>
                        <a:rPr sz="1000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</a:t>
                      </a:r>
                      <a:r>
                        <a:rPr sz="1000" spc="-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trigger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from</a:t>
                      </a:r>
                      <a:r>
                        <a:rPr sz="1000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i="1" spc="-45">
                          <a:latin typeface="Trebuchet MS"/>
                          <a:cs typeface="Trebuchet MS"/>
                        </a:rPr>
                        <a:t>data  </a:t>
                      </a:r>
                      <a:r>
                        <a:rPr sz="1000" i="1" spc="-55">
                          <a:latin typeface="Trebuchet MS"/>
                          <a:cs typeface="Trebuchet MS"/>
                        </a:rPr>
                        <a:t>monitor </a:t>
                      </a:r>
                      <a:r>
                        <a:rPr sz="1000" spc="-30">
                          <a:latin typeface="Trebuchet MS"/>
                          <a:cs typeface="Trebuchet MS"/>
                        </a:rPr>
                        <a:t>or </a:t>
                      </a:r>
                      <a:r>
                        <a:rPr sz="1000" i="1" spc="-55">
                          <a:latin typeface="Trebuchet MS"/>
                          <a:cs typeface="Trebuchet MS"/>
                        </a:rPr>
                        <a:t>monitor </a:t>
                      </a:r>
                      <a:r>
                        <a:rPr sz="1000" i="1" spc="-70">
                          <a:latin typeface="Trebuchet MS"/>
                          <a:cs typeface="Trebuchet MS"/>
                        </a:rPr>
                        <a:t>for </a:t>
                      </a:r>
                      <a:r>
                        <a:rPr sz="1000" i="1" spc="-60">
                          <a:latin typeface="Trebuchet MS"/>
                          <a:cs typeface="Trebuchet MS"/>
                        </a:rPr>
                        <a:t>model</a:t>
                      </a:r>
                      <a:r>
                        <a:rPr sz="1000" i="1" spc="-21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i="1" spc="-65">
                          <a:latin typeface="Trebuchet MS"/>
                          <a:cs typeface="Trebuchet MS"/>
                        </a:rPr>
                        <a:t>performance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L w="19050">
                      <a:solidFill>
                        <a:srgbClr val="29D5FF"/>
                      </a:solidFill>
                      <a:prstDash val="solid"/>
                    </a:lnL>
                    <a:lnB w="19050">
                      <a:solidFill>
                        <a:srgbClr val="CDCDCD"/>
                      </a:solidFill>
                      <a:prstDash val="soli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3980" marR="107314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b="1" spc="-55">
                          <a:latin typeface="Trebuchet MS"/>
                          <a:cs typeface="Trebuchet MS"/>
                        </a:rPr>
                        <a:t>Save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5">
                          <a:latin typeface="Trebuchet MS"/>
                          <a:cs typeface="Trebuchet MS"/>
                        </a:rPr>
                        <a:t>resources</a:t>
                      </a:r>
                      <a:r>
                        <a:rPr sz="1000" b="1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35">
                          <a:latin typeface="Trebuchet MS"/>
                          <a:cs typeface="Trebuchet MS"/>
                        </a:rPr>
                        <a:t>/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60">
                          <a:latin typeface="Trebuchet MS"/>
                          <a:cs typeface="Trebuchet MS"/>
                        </a:rPr>
                        <a:t>time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for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0">
                          <a:latin typeface="Trebuchet MS"/>
                          <a:cs typeface="Trebuchet MS"/>
                        </a:rPr>
                        <a:t>data</a:t>
                      </a:r>
                      <a:r>
                        <a:rPr sz="1000" b="1" spc="-8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b="1" spc="-55">
                          <a:latin typeface="Trebuchet MS"/>
                          <a:cs typeface="Trebuchet MS"/>
                        </a:rPr>
                        <a:t>scientists</a:t>
                      </a:r>
                      <a:r>
                        <a:rPr sz="1000" b="1" spc="-7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(avoid</a:t>
                      </a:r>
                      <a:r>
                        <a:rPr sz="1000" spc="-8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making  them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all </a:t>
                      </a:r>
                      <a:r>
                        <a:rPr sz="1000" spc="25">
                          <a:latin typeface="Trebuchet MS"/>
                          <a:cs typeface="Trebuchet MS"/>
                        </a:rPr>
                        <a:t>ML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engineers).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Increased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frequency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of model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re-training </a:t>
                      </a:r>
                      <a:r>
                        <a:rPr sz="1000" spc="-35">
                          <a:latin typeface="Trebuchet MS"/>
                          <a:cs typeface="Trebuchet MS"/>
                        </a:rPr>
                        <a:t>ensures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hat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model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better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represents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current</a:t>
                      </a:r>
                      <a:r>
                        <a:rPr sz="1000" spc="-105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65">
                          <a:latin typeface="Trebuchet MS"/>
                          <a:cs typeface="Trebuchet MS"/>
                        </a:rPr>
                        <a:t>reality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B w="19050">
                      <a:solidFill>
                        <a:srgbClr val="CDCDCD"/>
                      </a:solidFill>
                      <a:prstDash val="soli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26479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000" spc="-60">
                          <a:latin typeface="Trebuchet MS"/>
                          <a:cs typeface="Trebuchet MS"/>
                        </a:rPr>
                        <a:t>Utilize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CI/CD-tools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automate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the </a:t>
                      </a:r>
                      <a:r>
                        <a:rPr sz="1000" spc="-40">
                          <a:latin typeface="Trebuchet MS"/>
                          <a:cs typeface="Trebuchet MS"/>
                        </a:rPr>
                        <a:t>steps above</a:t>
                      </a:r>
                      <a:r>
                        <a:rPr sz="1000" spc="-19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5">
                          <a:latin typeface="Trebuchet MS"/>
                          <a:cs typeface="Trebuchet MS"/>
                        </a:rPr>
                        <a:t>that 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re </a:t>
                      </a:r>
                      <a:r>
                        <a:rPr sz="1000" spc="-45">
                          <a:latin typeface="Trebuchet MS"/>
                          <a:cs typeface="Trebuchet MS"/>
                        </a:rPr>
                        <a:t>prepared for</a:t>
                      </a:r>
                      <a:r>
                        <a:rPr sz="1000" spc="-14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50">
                          <a:latin typeface="Trebuchet MS"/>
                          <a:cs typeface="Trebuchet MS"/>
                        </a:rPr>
                        <a:t>automation.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34290" marB="0">
                    <a:lnB w="19050">
                      <a:solidFill>
                        <a:srgbClr val="CDCDCD"/>
                      </a:solidFill>
                      <a:prstDash val="soli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353566" y="1343164"/>
            <a:ext cx="251999" cy="25199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53566" y="2069528"/>
            <a:ext cx="251999" cy="25200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21623" y="1336547"/>
            <a:ext cx="115570" cy="9645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53566" y="2862960"/>
            <a:ext cx="251999" cy="25199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53566" y="3589324"/>
            <a:ext cx="251999" cy="2520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53566" y="4273029"/>
            <a:ext cx="251999" cy="25199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53566" y="4999393"/>
            <a:ext cx="251999" cy="2520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53566" y="5725764"/>
            <a:ext cx="251999" cy="2519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21623" y="2857500"/>
            <a:ext cx="115570" cy="31013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4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4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5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7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891910" y="0"/>
            <a:ext cx="300355" cy="150495"/>
          </a:xfrm>
          <a:custGeom>
            <a:avLst/>
            <a:gdLst/>
            <a:ahLst/>
            <a:cxnLst/>
            <a:rect l="l" t="t" r="r" b="b"/>
            <a:pathLst>
              <a:path w="300354" h="150495">
                <a:moveTo>
                  <a:pt x="300089" y="0"/>
                </a:moveTo>
                <a:lnTo>
                  <a:pt x="0" y="0"/>
                </a:lnTo>
                <a:lnTo>
                  <a:pt x="300089" y="149969"/>
                </a:lnTo>
                <a:lnTo>
                  <a:pt x="300089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6026150" y="6462149"/>
            <a:ext cx="139700" cy="1651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5"/>
              </a:spcBef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19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43689" y="6541397"/>
            <a:ext cx="8218170" cy="1651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5"/>
              </a:spcBef>
            </a:pPr>
            <a:r>
              <a:rPr sz="900" spc="-30">
                <a:latin typeface="Trebuchet MS"/>
                <a:cs typeface="Trebuchet MS"/>
              </a:rPr>
              <a:t>*Feature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store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can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have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two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45">
                <a:latin typeface="Trebuchet MS"/>
                <a:cs typeface="Trebuchet MS"/>
              </a:rPr>
              <a:t>complexity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levels.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55">
                <a:latin typeface="Trebuchet MS"/>
                <a:cs typeface="Trebuchet MS"/>
              </a:rPr>
              <a:t>Level </a:t>
            </a:r>
            <a:r>
              <a:rPr sz="900" spc="-60">
                <a:latin typeface="Trebuchet MS"/>
                <a:cs typeface="Trebuchet MS"/>
              </a:rPr>
              <a:t>1:</a:t>
            </a:r>
            <a:r>
              <a:rPr sz="900" spc="-70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Batch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data</a:t>
            </a:r>
            <a:r>
              <a:rPr sz="900" spc="-70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where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data</a:t>
            </a:r>
            <a:r>
              <a:rPr sz="900" spc="-7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warehouse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speed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30">
                <a:latin typeface="Trebuchet MS"/>
                <a:cs typeface="Trebuchet MS"/>
              </a:rPr>
              <a:t>is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sufficient.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55">
                <a:latin typeface="Trebuchet MS"/>
                <a:cs typeface="Trebuchet MS"/>
              </a:rPr>
              <a:t>Level</a:t>
            </a:r>
            <a:r>
              <a:rPr sz="900" spc="-60">
                <a:latin typeface="Trebuchet MS"/>
                <a:cs typeface="Trebuchet MS"/>
              </a:rPr>
              <a:t> 2: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Streaming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50">
                <a:latin typeface="Trebuchet MS"/>
                <a:cs typeface="Trebuchet MS"/>
              </a:rPr>
              <a:t>data</a:t>
            </a:r>
            <a:r>
              <a:rPr sz="900" spc="-75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(for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30">
                <a:latin typeface="Trebuchet MS"/>
                <a:cs typeface="Trebuchet MS"/>
              </a:rPr>
              <a:t>use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cases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40">
                <a:latin typeface="Trebuchet MS"/>
                <a:cs typeface="Trebuchet MS"/>
              </a:rPr>
              <a:t>where</a:t>
            </a:r>
            <a:r>
              <a:rPr sz="900" spc="-60">
                <a:latin typeface="Trebuchet MS"/>
                <a:cs typeface="Trebuchet MS"/>
              </a:rPr>
              <a:t> </a:t>
            </a:r>
            <a:r>
              <a:rPr sz="900" spc="-35">
                <a:latin typeface="Trebuchet MS"/>
                <a:cs typeface="Trebuchet MS"/>
              </a:rPr>
              <a:t>this</a:t>
            </a:r>
            <a:r>
              <a:rPr sz="900" spc="-70">
                <a:latin typeface="Trebuchet MS"/>
                <a:cs typeface="Trebuchet MS"/>
              </a:rPr>
              <a:t> </a:t>
            </a:r>
            <a:r>
              <a:rPr sz="900" spc="-30">
                <a:latin typeface="Trebuchet MS"/>
                <a:cs typeface="Trebuchet MS"/>
              </a:rPr>
              <a:t>is</a:t>
            </a:r>
            <a:r>
              <a:rPr sz="900" spc="-65">
                <a:latin typeface="Trebuchet MS"/>
                <a:cs typeface="Trebuchet MS"/>
              </a:rPr>
              <a:t> </a:t>
            </a:r>
            <a:r>
              <a:rPr sz="900" spc="-45">
                <a:latin typeface="Trebuchet MS"/>
                <a:cs typeface="Trebuchet MS"/>
              </a:rPr>
              <a:t>a</a:t>
            </a:r>
            <a:r>
              <a:rPr sz="900" spc="-70">
                <a:latin typeface="Trebuchet MS"/>
                <a:cs typeface="Trebuchet MS"/>
              </a:rPr>
              <a:t> </a:t>
            </a:r>
            <a:r>
              <a:rPr sz="900" spc="-45">
                <a:latin typeface="Trebuchet MS"/>
                <a:cs typeface="Trebuchet MS"/>
              </a:rPr>
              <a:t>requirement).</a:t>
            </a:r>
            <a:endParaRPr sz="9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5427345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110">
                <a:solidFill>
                  <a:srgbClr val="FFFFFF"/>
                </a:solidFill>
              </a:rPr>
              <a:t>Modern</a:t>
            </a:r>
            <a:r>
              <a:rPr lang="nb-NO" sz="4400" spc="-110">
                <a:solidFill>
                  <a:srgbClr val="FFFFFF"/>
                </a:solidFill>
              </a:rPr>
              <a:t> </a:t>
            </a:r>
            <a:r>
              <a:rPr sz="4400" spc="-215">
                <a:solidFill>
                  <a:srgbClr val="FFFFFF"/>
                </a:solidFill>
              </a:rPr>
              <a:t>data</a:t>
            </a:r>
            <a:r>
              <a:rPr lang="nb-NO" sz="4400" spc="-595">
                <a:solidFill>
                  <a:srgbClr val="FFFFFF"/>
                </a:solidFill>
              </a:rPr>
              <a:t>  </a:t>
            </a:r>
            <a:r>
              <a:rPr sz="4400" spc="-220">
                <a:solidFill>
                  <a:srgbClr val="FFFFFF"/>
                </a:solidFill>
              </a:rPr>
              <a:t>platforms</a:t>
            </a:r>
            <a:endParaRPr sz="44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67425" y="6474849"/>
            <a:ext cx="58419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35"/>
              </a:lnSpc>
            </a:pPr>
            <a:r>
              <a:rPr sz="900" spc="-20">
                <a:solidFill>
                  <a:srgbClr val="BFBFBF"/>
                </a:solidFill>
                <a:latin typeface="Trebuchet MS"/>
                <a:cs typeface="Trebuchet MS"/>
              </a:rPr>
              <a:t>2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754181" y="0"/>
            <a:ext cx="7438390" cy="6858000"/>
            <a:chOff x="4754181" y="0"/>
            <a:chExt cx="7438390" cy="6858000"/>
          </a:xfrm>
        </p:grpSpPr>
        <p:sp>
          <p:nvSpPr>
            <p:cNvPr id="4" name="object 4"/>
            <p:cNvSpPr/>
            <p:nvPr/>
          </p:nvSpPr>
          <p:spPr>
            <a:xfrm>
              <a:off x="4760531" y="0"/>
              <a:ext cx="7432040" cy="6858000"/>
            </a:xfrm>
            <a:custGeom>
              <a:avLst/>
              <a:gdLst/>
              <a:ahLst/>
              <a:cxnLst/>
              <a:rect l="l" t="t" r="r" b="b"/>
              <a:pathLst>
                <a:path w="7432040" h="6858000">
                  <a:moveTo>
                    <a:pt x="7431468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7431468" y="6857999"/>
                  </a:lnTo>
                  <a:lnTo>
                    <a:pt x="7431468" y="0"/>
                  </a:lnTo>
                  <a:close/>
                </a:path>
              </a:pathLst>
            </a:custGeom>
            <a:solidFill>
              <a:srgbClr val="F8F8F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754181" y="1553299"/>
              <a:ext cx="12699" cy="375140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189464" y="6419088"/>
              <a:ext cx="1380744" cy="22250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>
            <p:custDataLst>
              <p:tags r:id="rId1"/>
            </p:custDataLst>
          </p:nvPr>
        </p:nvSpPr>
        <p:spPr>
          <a:xfrm>
            <a:off x="5244363" y="1624076"/>
            <a:ext cx="2079625" cy="528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114">
                <a:solidFill>
                  <a:srgbClr val="29D5FF"/>
                </a:solidFill>
                <a:latin typeface="Trebuchet MS"/>
                <a:cs typeface="Trebuchet MS"/>
              </a:rPr>
              <a:t>In</a:t>
            </a:r>
            <a:r>
              <a:rPr sz="1200" spc="-8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85">
                <a:solidFill>
                  <a:srgbClr val="29D5FF"/>
                </a:solidFill>
                <a:latin typeface="Trebuchet MS"/>
                <a:cs typeface="Trebuchet MS"/>
              </a:rPr>
              <a:t>tr</a:t>
            </a:r>
            <a:r>
              <a:rPr sz="1200" spc="-9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16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16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105">
                <a:solidFill>
                  <a:srgbClr val="29D5FF"/>
                </a:solidFill>
                <a:latin typeface="Trebuchet MS"/>
                <a:cs typeface="Trebuchet MS"/>
              </a:rPr>
              <a:t>Be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 a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105">
                <a:solidFill>
                  <a:srgbClr val="29D5FF"/>
                </a:solidFill>
                <a:latin typeface="Trebuchet MS"/>
                <a:cs typeface="Trebuchet MS"/>
              </a:rPr>
              <a:t>gp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1200" spc="-8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80"/>
              </a:spcBef>
            </a:pPr>
            <a:r>
              <a:rPr sz="1200" spc="-25">
                <a:latin typeface="Trebuchet MS"/>
                <a:cs typeface="Trebuchet MS"/>
              </a:rPr>
              <a:t>5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>
            <p:custDataLst>
              <p:tags r:id="rId2"/>
            </p:custDataLst>
          </p:nvPr>
        </p:nvSpPr>
        <p:spPr>
          <a:xfrm>
            <a:off x="5244363" y="2639059"/>
            <a:ext cx="1913889" cy="525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70">
                <a:solidFill>
                  <a:srgbClr val="29D5FF"/>
                </a:solidFill>
                <a:latin typeface="Trebuchet MS"/>
                <a:cs typeface="Trebuchet MS"/>
              </a:rPr>
              <a:t>Va 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l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u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d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 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i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v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d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 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i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g</a:t>
            </a:r>
            <a:r>
              <a:rPr sz="1200" spc="-23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55"/>
              </a:spcBef>
            </a:pPr>
            <a:r>
              <a:rPr sz="1200" spc="-25">
                <a:latin typeface="Trebuchet MS"/>
                <a:cs typeface="Trebuchet MS"/>
              </a:rPr>
              <a:t>10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>
            <p:custDataLst>
              <p:tags r:id="rId3"/>
            </p:custDataLst>
          </p:nvPr>
        </p:nvSpPr>
        <p:spPr>
          <a:xfrm>
            <a:off x="6417685" y="3660140"/>
            <a:ext cx="90296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w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k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h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p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>
            <p:custDataLst>
              <p:tags r:id="rId4"/>
            </p:custDataLst>
          </p:nvPr>
        </p:nvSpPr>
        <p:spPr>
          <a:xfrm>
            <a:off x="5181600" y="4684267"/>
            <a:ext cx="608330" cy="107721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180">
                <a:solidFill>
                  <a:srgbClr val="29D5FF"/>
                </a:solidFill>
                <a:latin typeface="Trebuchet MS"/>
                <a:cs typeface="Trebuchet MS"/>
              </a:rPr>
              <a:t>ML</a:t>
            </a:r>
            <a:r>
              <a:rPr sz="1200" spc="-254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p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55"/>
              </a:spcBef>
            </a:pPr>
            <a:r>
              <a:rPr sz="1200" spc="-25">
                <a:latin typeface="Trebuchet MS"/>
                <a:cs typeface="Trebuchet MS"/>
              </a:rPr>
              <a:t>20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r>
              <a:rPr lang="nb-NO" sz="1200" spc="-45">
                <a:latin typeface="Trebuchet MS"/>
                <a:cs typeface="Trebuchet MS"/>
              </a:rPr>
              <a:t>. Markus (slide 12-19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546286" y="1325372"/>
            <a:ext cx="1213485" cy="10015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3300"/>
              </a:lnSpc>
              <a:spcBef>
                <a:spcPts val="100"/>
              </a:spcBef>
            </a:pPr>
            <a:r>
              <a:rPr sz="1200" spc="225">
                <a:solidFill>
                  <a:srgbClr val="29D5FF"/>
                </a:solidFill>
                <a:latin typeface="Trebuchet MS"/>
                <a:cs typeface="Trebuchet MS"/>
              </a:rPr>
              <a:t>Mo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d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1200" spc="5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d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 </a:t>
            </a:r>
            <a:r>
              <a:rPr sz="1200" spc="85">
                <a:solidFill>
                  <a:srgbClr val="29D5FF"/>
                </a:solidFill>
                <a:latin typeface="Trebuchet MS"/>
                <a:cs typeface="Trebuchet MS"/>
              </a:rPr>
              <a:t>pl</a:t>
            </a:r>
            <a:r>
              <a:rPr sz="1200" spc="-21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 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f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m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30"/>
              </a:spcBef>
            </a:pPr>
            <a:r>
              <a:rPr sz="1200" spc="-25">
                <a:latin typeface="Trebuchet MS"/>
                <a:cs typeface="Trebuchet MS"/>
              </a:rPr>
              <a:t>15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r>
              <a:rPr lang="nb-NO" sz="1200" spc="-45">
                <a:latin typeface="Trebuchet MS"/>
                <a:cs typeface="Trebuchet MS"/>
              </a:rPr>
              <a:t>. Markus: 19-24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547404" y="2639059"/>
            <a:ext cx="1481455" cy="525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85">
                <a:solidFill>
                  <a:srgbClr val="29D5FF"/>
                </a:solidFill>
                <a:latin typeface="Trebuchet MS"/>
                <a:cs typeface="Trebuchet MS"/>
              </a:rPr>
              <a:t>Pl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a </a:t>
            </a:r>
            <a:r>
              <a:rPr sz="1200" spc="75">
                <a:solidFill>
                  <a:srgbClr val="29D5FF"/>
                </a:solidFill>
                <a:latin typeface="Trebuchet MS"/>
                <a:cs typeface="Trebuchet MS"/>
              </a:rPr>
              <a:t>ce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85">
                <a:solidFill>
                  <a:srgbClr val="29D5FF"/>
                </a:solidFill>
                <a:latin typeface="Trebuchet MS"/>
                <a:cs typeface="Trebuchet MS"/>
              </a:rPr>
              <a:t>x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m p </a:t>
            </a:r>
            <a:r>
              <a:rPr sz="1200" spc="-80">
                <a:solidFill>
                  <a:srgbClr val="29D5FF"/>
                </a:solidFill>
                <a:latin typeface="Trebuchet MS"/>
                <a:cs typeface="Trebuchet MS"/>
              </a:rPr>
              <a:t>l</a:t>
            </a:r>
            <a:r>
              <a:rPr sz="1200" spc="10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55"/>
              </a:spcBef>
            </a:pPr>
            <a:r>
              <a:rPr sz="1200" spc="-25">
                <a:latin typeface="Trebuchet MS"/>
                <a:cs typeface="Trebuchet MS"/>
              </a:rPr>
              <a:t>10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546286" y="3361436"/>
            <a:ext cx="1693545" cy="8274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3300"/>
              </a:lnSpc>
              <a:spcBef>
                <a:spcPts val="100"/>
              </a:spcBef>
            </a:pPr>
            <a:r>
              <a:rPr sz="1200" spc="180">
                <a:solidFill>
                  <a:srgbClr val="29D5FF"/>
                </a:solidFill>
                <a:latin typeface="Trebuchet MS"/>
                <a:cs typeface="Trebuchet MS"/>
              </a:rPr>
              <a:t>ML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y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m d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 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i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g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  </a:t>
            </a:r>
            <a:r>
              <a:rPr sz="1200" spc="120">
                <a:solidFill>
                  <a:srgbClr val="29D5FF"/>
                </a:solidFill>
                <a:latin typeface="Trebuchet MS"/>
                <a:cs typeface="Trebuchet MS"/>
              </a:rPr>
              <a:t>wo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150">
                <a:solidFill>
                  <a:srgbClr val="29D5FF"/>
                </a:solidFill>
                <a:latin typeface="Trebuchet MS"/>
                <a:cs typeface="Trebuchet MS"/>
              </a:rPr>
              <a:t>rks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h</a:t>
            </a:r>
            <a:r>
              <a:rPr sz="1200" spc="-70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15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1200" spc="-6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p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30"/>
              </a:spcBef>
            </a:pPr>
            <a:r>
              <a:rPr sz="1200" spc="-25">
                <a:latin typeface="Trebuchet MS"/>
                <a:cs typeface="Trebuchet MS"/>
              </a:rPr>
              <a:t>10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546286" y="4684267"/>
            <a:ext cx="2087245" cy="525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P r </a:t>
            </a:r>
            <a:r>
              <a:rPr sz="1200" spc="75">
                <a:solidFill>
                  <a:srgbClr val="29D5FF"/>
                </a:solidFill>
                <a:latin typeface="Trebuchet MS"/>
                <a:cs typeface="Trebuchet MS"/>
              </a:rPr>
              <a:t>ac </a:t>
            </a:r>
            <a:r>
              <a:rPr sz="1200" spc="-75">
                <a:solidFill>
                  <a:srgbClr val="29D5FF"/>
                </a:solidFill>
                <a:latin typeface="Trebuchet MS"/>
                <a:cs typeface="Trebuchet MS"/>
              </a:rPr>
              <a:t>t </a:t>
            </a:r>
            <a:r>
              <a:rPr sz="1200" spc="70">
                <a:solidFill>
                  <a:srgbClr val="29D5FF"/>
                </a:solidFill>
                <a:latin typeface="Trebuchet MS"/>
                <a:cs typeface="Trebuchet MS"/>
              </a:rPr>
              <a:t>ic </a:t>
            </a:r>
            <a:r>
              <a:rPr sz="1200" spc="80">
                <a:solidFill>
                  <a:srgbClr val="29D5FF"/>
                </a:solidFill>
                <a:latin typeface="Trebuchet MS"/>
                <a:cs typeface="Trebuchet MS"/>
              </a:rPr>
              <a:t>al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85">
                <a:solidFill>
                  <a:srgbClr val="29D5FF"/>
                </a:solidFill>
                <a:latin typeface="Trebuchet MS"/>
                <a:cs typeface="Trebuchet MS"/>
              </a:rPr>
              <a:t>x </a:t>
            </a:r>
            <a:r>
              <a:rPr sz="1200" spc="-40">
                <a:solidFill>
                  <a:srgbClr val="29D5FF"/>
                </a:solidFill>
                <a:latin typeface="Trebuchet MS"/>
                <a:cs typeface="Trebuchet MS"/>
              </a:rPr>
              <a:t>p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50">
                <a:solidFill>
                  <a:srgbClr val="29D5FF"/>
                </a:solidFill>
                <a:latin typeface="Trebuchet MS"/>
                <a:cs typeface="Trebuchet MS"/>
              </a:rPr>
              <a:t>r </a:t>
            </a:r>
            <a:r>
              <a:rPr sz="1200" spc="85">
                <a:solidFill>
                  <a:srgbClr val="29D5FF"/>
                </a:solidFill>
                <a:latin typeface="Trebuchet MS"/>
                <a:cs typeface="Trebuchet MS"/>
              </a:rPr>
              <a:t>ie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n </a:t>
            </a:r>
            <a:r>
              <a:rPr sz="1200" spc="-90">
                <a:solidFill>
                  <a:srgbClr val="29D5FF"/>
                </a:solidFill>
                <a:latin typeface="Trebuchet MS"/>
                <a:cs typeface="Trebuchet MS"/>
              </a:rPr>
              <a:t>c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</a:t>
            </a:r>
            <a:r>
              <a:rPr sz="1200" spc="-204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55"/>
              </a:spcBef>
            </a:pPr>
            <a:r>
              <a:rPr sz="1200" spc="-25">
                <a:latin typeface="Trebuchet MS"/>
                <a:cs typeface="Trebuchet MS"/>
              </a:rPr>
              <a:t>10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>
            <p:custDataLst>
              <p:tags r:id="rId5"/>
            </p:custDataLst>
          </p:nvPr>
        </p:nvSpPr>
        <p:spPr>
          <a:xfrm>
            <a:off x="5245480" y="3660140"/>
            <a:ext cx="1086485" cy="528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180">
                <a:solidFill>
                  <a:srgbClr val="29D5FF"/>
                </a:solidFill>
                <a:latin typeface="Trebuchet MS"/>
                <a:cs typeface="Trebuchet MS"/>
              </a:rPr>
              <a:t>ML </a:t>
            </a:r>
            <a:r>
              <a:rPr sz="1200" spc="-30">
                <a:solidFill>
                  <a:srgbClr val="29D5FF"/>
                </a:solidFill>
                <a:latin typeface="Trebuchet MS"/>
                <a:cs typeface="Trebuchet MS"/>
              </a:rPr>
              <a:t>u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 </a:t>
            </a:r>
            <a:r>
              <a:rPr sz="1200" spc="-90">
                <a:solidFill>
                  <a:srgbClr val="29D5FF"/>
                </a:solidFill>
                <a:latin typeface="Trebuchet MS"/>
                <a:cs typeface="Trebuchet MS"/>
              </a:rPr>
              <a:t>c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a </a:t>
            </a:r>
            <a:r>
              <a:rPr sz="1200" spc="-20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r>
              <a:rPr sz="1200" spc="13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29D5FF"/>
                </a:solidFill>
                <a:latin typeface="Trebuchet MS"/>
                <a:cs typeface="Trebuchet MS"/>
              </a:rPr>
              <a:t>e</a:t>
            </a:r>
            <a:endParaRPr sz="1200">
              <a:latin typeface="Trebuchet MS"/>
              <a:cs typeface="Trebuchet MS"/>
            </a:endParaRPr>
          </a:p>
          <a:p>
            <a:pPr marL="13335">
              <a:lnSpc>
                <a:spcPct val="100000"/>
              </a:lnSpc>
              <a:spcBef>
                <a:spcPts val="1080"/>
              </a:spcBef>
            </a:pPr>
            <a:r>
              <a:rPr sz="1200" spc="-25">
                <a:latin typeface="Trebuchet MS"/>
                <a:cs typeface="Trebuchet MS"/>
              </a:rPr>
              <a:t>10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in</a:t>
            </a:r>
            <a:endParaRPr sz="12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5789613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80"/>
              <a:t>What </a:t>
            </a:r>
            <a:r>
              <a:rPr spc="-110"/>
              <a:t>should </a:t>
            </a:r>
            <a:r>
              <a:rPr spc="-95"/>
              <a:t>a</a:t>
            </a:r>
            <a:r>
              <a:rPr spc="-550"/>
              <a:t> </a:t>
            </a:r>
            <a:r>
              <a:rPr lang="nb-NO" spc="-550"/>
              <a:t>   </a:t>
            </a:r>
            <a:r>
              <a:rPr spc="-114"/>
              <a:t>data </a:t>
            </a:r>
            <a:r>
              <a:rPr spc="-125"/>
              <a:t>platform </a:t>
            </a:r>
            <a:r>
              <a:rPr spc="-110"/>
              <a:t>enable?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8306501" y="3726022"/>
            <a:ext cx="2343785" cy="1416050"/>
            <a:chOff x="8306501" y="3726022"/>
            <a:chExt cx="2343785" cy="1416050"/>
          </a:xfrm>
        </p:grpSpPr>
        <p:sp>
          <p:nvSpPr>
            <p:cNvPr id="4" name="object 4"/>
            <p:cNvSpPr/>
            <p:nvPr/>
          </p:nvSpPr>
          <p:spPr>
            <a:xfrm>
              <a:off x="8319199" y="3738879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4" h="1390650">
                  <a:moveTo>
                    <a:pt x="2318004" y="0"/>
                  </a:moveTo>
                  <a:lnTo>
                    <a:pt x="0" y="0"/>
                  </a:lnTo>
                  <a:lnTo>
                    <a:pt x="0" y="223520"/>
                  </a:lnTo>
                  <a:lnTo>
                    <a:pt x="2094026" y="223520"/>
                  </a:lnTo>
                  <a:lnTo>
                    <a:pt x="2094026" y="1390650"/>
                  </a:lnTo>
                  <a:lnTo>
                    <a:pt x="2318004" y="1390650"/>
                  </a:lnTo>
                  <a:lnTo>
                    <a:pt x="2318004" y="223520"/>
                  </a:lnTo>
                  <a:lnTo>
                    <a:pt x="2318004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319201" y="3738722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4" h="1390650">
                  <a:moveTo>
                    <a:pt x="2318001" y="1390260"/>
                  </a:moveTo>
                  <a:lnTo>
                    <a:pt x="2094030" y="1390260"/>
                  </a:lnTo>
                  <a:lnTo>
                    <a:pt x="2094030" y="224110"/>
                  </a:lnTo>
                  <a:lnTo>
                    <a:pt x="0" y="224110"/>
                  </a:lnTo>
                  <a:lnTo>
                    <a:pt x="0" y="0"/>
                  </a:lnTo>
                  <a:lnTo>
                    <a:pt x="2318001" y="0"/>
                  </a:lnTo>
                  <a:lnTo>
                    <a:pt x="2318001" y="139026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428876" y="3827081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4" h="72389">
                  <a:moveTo>
                    <a:pt x="0" y="0"/>
                  </a:moveTo>
                  <a:lnTo>
                    <a:pt x="0" y="71996"/>
                  </a:lnTo>
                  <a:lnTo>
                    <a:pt x="394055" y="719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428872" y="3827081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4" h="72389">
                  <a:moveTo>
                    <a:pt x="0" y="0"/>
                  </a:moveTo>
                  <a:lnTo>
                    <a:pt x="394059" y="71998"/>
                  </a:lnTo>
                  <a:lnTo>
                    <a:pt x="0" y="7199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5745114" y="3254383"/>
            <a:ext cx="2343785" cy="1416050"/>
            <a:chOff x="5745114" y="3254383"/>
            <a:chExt cx="2343785" cy="1416050"/>
          </a:xfrm>
        </p:grpSpPr>
        <p:sp>
          <p:nvSpPr>
            <p:cNvPr id="9" name="object 9"/>
            <p:cNvSpPr/>
            <p:nvPr/>
          </p:nvSpPr>
          <p:spPr>
            <a:xfrm>
              <a:off x="5757824" y="3267709"/>
              <a:ext cx="2318385" cy="1389380"/>
            </a:xfrm>
            <a:custGeom>
              <a:avLst/>
              <a:gdLst/>
              <a:ahLst/>
              <a:cxnLst/>
              <a:rect l="l" t="t" r="r" b="b"/>
              <a:pathLst>
                <a:path w="2318384" h="1389379">
                  <a:moveTo>
                    <a:pt x="2317991" y="0"/>
                  </a:moveTo>
                  <a:lnTo>
                    <a:pt x="0" y="0"/>
                  </a:lnTo>
                  <a:lnTo>
                    <a:pt x="0" y="223520"/>
                  </a:lnTo>
                  <a:lnTo>
                    <a:pt x="2094014" y="223520"/>
                  </a:lnTo>
                  <a:lnTo>
                    <a:pt x="2094014" y="1389380"/>
                  </a:lnTo>
                  <a:lnTo>
                    <a:pt x="2317991" y="1389380"/>
                  </a:lnTo>
                  <a:lnTo>
                    <a:pt x="2317991" y="223520"/>
                  </a:lnTo>
                  <a:lnTo>
                    <a:pt x="2317991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57814" y="3267083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4" h="1390650">
                  <a:moveTo>
                    <a:pt x="2318001" y="1390260"/>
                  </a:moveTo>
                  <a:lnTo>
                    <a:pt x="2094030" y="1390260"/>
                  </a:lnTo>
                  <a:lnTo>
                    <a:pt x="2094030" y="224110"/>
                  </a:lnTo>
                  <a:lnTo>
                    <a:pt x="0" y="224110"/>
                  </a:lnTo>
                  <a:lnTo>
                    <a:pt x="0" y="0"/>
                  </a:lnTo>
                  <a:lnTo>
                    <a:pt x="2318001" y="0"/>
                  </a:lnTo>
                  <a:lnTo>
                    <a:pt x="2318001" y="139026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898972" y="3344506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5" h="72389">
                  <a:moveTo>
                    <a:pt x="0" y="0"/>
                  </a:moveTo>
                  <a:lnTo>
                    <a:pt x="0" y="71996"/>
                  </a:lnTo>
                  <a:lnTo>
                    <a:pt x="394055" y="719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898968" y="3344506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5" h="72389">
                  <a:moveTo>
                    <a:pt x="0" y="0"/>
                  </a:moveTo>
                  <a:lnTo>
                    <a:pt x="394059" y="71998"/>
                  </a:lnTo>
                  <a:lnTo>
                    <a:pt x="0" y="7199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3183727" y="2782743"/>
            <a:ext cx="2343785" cy="1416050"/>
            <a:chOff x="3183727" y="2782743"/>
            <a:chExt cx="2343785" cy="1416050"/>
          </a:xfrm>
        </p:grpSpPr>
        <p:sp>
          <p:nvSpPr>
            <p:cNvPr id="14" name="object 14"/>
            <p:cNvSpPr/>
            <p:nvPr/>
          </p:nvSpPr>
          <p:spPr>
            <a:xfrm>
              <a:off x="3196437" y="2795269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5" h="1390650">
                  <a:moveTo>
                    <a:pt x="2317991" y="0"/>
                  </a:moveTo>
                  <a:lnTo>
                    <a:pt x="0" y="0"/>
                  </a:lnTo>
                  <a:lnTo>
                    <a:pt x="0" y="224790"/>
                  </a:lnTo>
                  <a:lnTo>
                    <a:pt x="2094014" y="224790"/>
                  </a:lnTo>
                  <a:lnTo>
                    <a:pt x="2094014" y="1390650"/>
                  </a:lnTo>
                  <a:lnTo>
                    <a:pt x="2317991" y="1390650"/>
                  </a:lnTo>
                  <a:lnTo>
                    <a:pt x="2317991" y="224790"/>
                  </a:lnTo>
                  <a:lnTo>
                    <a:pt x="2317991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196427" y="2795443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5" h="1390650">
                  <a:moveTo>
                    <a:pt x="2318001" y="1390260"/>
                  </a:moveTo>
                  <a:lnTo>
                    <a:pt x="2094030" y="1390260"/>
                  </a:lnTo>
                  <a:lnTo>
                    <a:pt x="2094030" y="224110"/>
                  </a:lnTo>
                  <a:lnTo>
                    <a:pt x="0" y="224110"/>
                  </a:lnTo>
                  <a:lnTo>
                    <a:pt x="0" y="0"/>
                  </a:lnTo>
                  <a:lnTo>
                    <a:pt x="2318001" y="0"/>
                  </a:lnTo>
                  <a:lnTo>
                    <a:pt x="2318001" y="139026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296869" y="2821292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5" h="72389">
                  <a:moveTo>
                    <a:pt x="0" y="0"/>
                  </a:moveTo>
                  <a:lnTo>
                    <a:pt x="0" y="71996"/>
                  </a:lnTo>
                  <a:lnTo>
                    <a:pt x="394068" y="719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296878" y="2821292"/>
              <a:ext cx="394335" cy="72390"/>
            </a:xfrm>
            <a:custGeom>
              <a:avLst/>
              <a:gdLst/>
              <a:ahLst/>
              <a:cxnLst/>
              <a:rect l="l" t="t" r="r" b="b"/>
              <a:pathLst>
                <a:path w="394335" h="72389">
                  <a:moveTo>
                    <a:pt x="0" y="0"/>
                  </a:moveTo>
                  <a:lnTo>
                    <a:pt x="394059" y="71998"/>
                  </a:lnTo>
                  <a:lnTo>
                    <a:pt x="0" y="7199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" name="object 18"/>
          <p:cNvGrpSpPr/>
          <p:nvPr/>
        </p:nvGrpSpPr>
        <p:grpSpPr>
          <a:xfrm>
            <a:off x="622340" y="2311103"/>
            <a:ext cx="2343785" cy="1416050"/>
            <a:chOff x="622340" y="2311103"/>
            <a:chExt cx="2343785" cy="1416050"/>
          </a:xfrm>
        </p:grpSpPr>
        <p:sp>
          <p:nvSpPr>
            <p:cNvPr id="19" name="object 19"/>
            <p:cNvSpPr/>
            <p:nvPr/>
          </p:nvSpPr>
          <p:spPr>
            <a:xfrm>
              <a:off x="635038" y="2324099"/>
              <a:ext cx="2318385" cy="1389380"/>
            </a:xfrm>
            <a:custGeom>
              <a:avLst/>
              <a:gdLst/>
              <a:ahLst/>
              <a:cxnLst/>
              <a:rect l="l" t="t" r="r" b="b"/>
              <a:pathLst>
                <a:path w="2318385" h="1389379">
                  <a:moveTo>
                    <a:pt x="2318004" y="223520"/>
                  </a:moveTo>
                  <a:lnTo>
                    <a:pt x="2317991" y="0"/>
                  </a:lnTo>
                  <a:lnTo>
                    <a:pt x="0" y="0"/>
                  </a:lnTo>
                  <a:lnTo>
                    <a:pt x="0" y="223520"/>
                  </a:lnTo>
                  <a:lnTo>
                    <a:pt x="2094039" y="223520"/>
                  </a:lnTo>
                  <a:lnTo>
                    <a:pt x="2094039" y="1389380"/>
                  </a:lnTo>
                  <a:lnTo>
                    <a:pt x="2318004" y="1389380"/>
                  </a:lnTo>
                  <a:lnTo>
                    <a:pt x="2318004" y="22352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635040" y="2323803"/>
              <a:ext cx="2318385" cy="1390650"/>
            </a:xfrm>
            <a:custGeom>
              <a:avLst/>
              <a:gdLst/>
              <a:ahLst/>
              <a:cxnLst/>
              <a:rect l="l" t="t" r="r" b="b"/>
              <a:pathLst>
                <a:path w="2318385" h="1390650">
                  <a:moveTo>
                    <a:pt x="2318001" y="1390260"/>
                  </a:moveTo>
                  <a:lnTo>
                    <a:pt x="2094030" y="1390260"/>
                  </a:lnTo>
                  <a:lnTo>
                    <a:pt x="2094030" y="224110"/>
                  </a:lnTo>
                  <a:lnTo>
                    <a:pt x="0" y="224110"/>
                  </a:lnTo>
                  <a:lnTo>
                    <a:pt x="0" y="0"/>
                  </a:lnTo>
                  <a:lnTo>
                    <a:pt x="2318001" y="0"/>
                  </a:lnTo>
                  <a:lnTo>
                    <a:pt x="2318001" y="1390260"/>
                  </a:lnTo>
                  <a:close/>
                </a:path>
              </a:pathLst>
            </a:custGeom>
            <a:ln w="2540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>
            <p:custDataLst>
              <p:tags r:id="rId1"/>
            </p:custDataLst>
          </p:nvPr>
        </p:nvSpPr>
        <p:spPr>
          <a:xfrm>
            <a:off x="702627" y="1842516"/>
            <a:ext cx="651510" cy="42608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90">
                <a:solidFill>
                  <a:srgbClr val="6C03A8"/>
                </a:solidFill>
                <a:latin typeface="Trebuchet MS"/>
                <a:cs typeface="Trebuchet MS"/>
              </a:rPr>
              <a:t>Value</a:t>
            </a:r>
            <a:endParaRPr sz="14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1200" spc="-45">
                <a:latin typeface="Trebuchet MS"/>
                <a:cs typeface="Trebuchet MS"/>
              </a:rPr>
              <a:t>(Business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1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3274148" y="2311908"/>
            <a:ext cx="3535045" cy="895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60">
                <a:solidFill>
                  <a:srgbClr val="6C03A8"/>
                </a:solidFill>
                <a:latin typeface="Trebuchet MS"/>
                <a:cs typeface="Trebuchet MS"/>
              </a:rPr>
              <a:t>Insight </a:t>
            </a:r>
            <a:r>
              <a:rPr sz="1400" b="1" spc="-70">
                <a:solidFill>
                  <a:srgbClr val="6C03A8"/>
                </a:solidFill>
                <a:latin typeface="Trebuchet MS"/>
                <a:cs typeface="Trebuchet MS"/>
              </a:rPr>
              <a:t>and</a:t>
            </a:r>
            <a:r>
              <a:rPr sz="1400" b="1" spc="-17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400" b="1" spc="-75">
                <a:solidFill>
                  <a:srgbClr val="6C03A8"/>
                </a:solidFill>
                <a:latin typeface="Trebuchet MS"/>
                <a:cs typeface="Trebuchet MS"/>
              </a:rPr>
              <a:t>Analytics</a:t>
            </a:r>
            <a:endParaRPr sz="14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1200" spc="-65">
                <a:latin typeface="Trebuchet MS"/>
                <a:cs typeface="Trebuchet MS"/>
              </a:rPr>
              <a:t>(Data Analyst, </a:t>
            </a:r>
            <a:r>
              <a:rPr sz="1200" spc="-60">
                <a:latin typeface="Trebuchet MS"/>
                <a:cs typeface="Trebuchet MS"/>
              </a:rPr>
              <a:t>Data</a:t>
            </a:r>
            <a:r>
              <a:rPr sz="1200" spc="-14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Scientist)</a:t>
            </a:r>
            <a:endParaRPr sz="1200">
              <a:latin typeface="Trebuchet MS"/>
              <a:cs typeface="Trebuchet MS"/>
            </a:endParaRPr>
          </a:p>
          <a:p>
            <a:pPr marL="2562860">
              <a:lnSpc>
                <a:spcPct val="100000"/>
              </a:lnSpc>
              <a:spcBef>
                <a:spcPts val="570"/>
              </a:spcBef>
            </a:pPr>
            <a:r>
              <a:rPr sz="1400" b="1" spc="-60">
                <a:solidFill>
                  <a:srgbClr val="6C03A8"/>
                </a:solidFill>
                <a:latin typeface="Trebuchet MS"/>
                <a:cs typeface="Trebuchet MS"/>
              </a:rPr>
              <a:t>Data</a:t>
            </a:r>
            <a:endParaRPr sz="1400">
              <a:latin typeface="Trebuchet MS"/>
              <a:cs typeface="Trebuchet MS"/>
            </a:endParaRPr>
          </a:p>
          <a:p>
            <a:pPr marL="2562860">
              <a:lnSpc>
                <a:spcPct val="100000"/>
              </a:lnSpc>
              <a:spcBef>
                <a:spcPts val="5"/>
              </a:spcBef>
            </a:pPr>
            <a:r>
              <a:rPr sz="1200" spc="-65">
                <a:latin typeface="Trebuchet MS"/>
                <a:cs typeface="Trebuchet MS"/>
              </a:rPr>
              <a:t>(Data</a:t>
            </a:r>
            <a:r>
              <a:rPr sz="1200" spc="-14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Engineer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>
            <p:custDataLst>
              <p:tags r:id="rId2"/>
            </p:custDataLst>
          </p:nvPr>
        </p:nvSpPr>
        <p:spPr>
          <a:xfrm>
            <a:off x="8386838" y="3262884"/>
            <a:ext cx="2228850" cy="4229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85">
                <a:solidFill>
                  <a:srgbClr val="6C03A8"/>
                </a:solidFill>
                <a:latin typeface="Trebuchet MS"/>
                <a:cs typeface="Trebuchet MS"/>
              </a:rPr>
              <a:t>Infrastructure </a:t>
            </a:r>
            <a:r>
              <a:rPr sz="1400" b="1" spc="-70">
                <a:solidFill>
                  <a:srgbClr val="6C03A8"/>
                </a:solidFill>
                <a:latin typeface="Trebuchet MS"/>
                <a:cs typeface="Trebuchet MS"/>
              </a:rPr>
              <a:t>and</a:t>
            </a:r>
            <a:r>
              <a:rPr sz="1400" b="1" spc="-19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400" b="1" spc="-100">
                <a:solidFill>
                  <a:srgbClr val="6C03A8"/>
                </a:solidFill>
                <a:latin typeface="Trebuchet MS"/>
                <a:cs typeface="Trebuchet MS"/>
              </a:rPr>
              <a:t>Technology</a:t>
            </a:r>
            <a:endParaRPr sz="14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200" spc="-60">
                <a:latin typeface="Trebuchet MS"/>
                <a:cs typeface="Trebuchet MS"/>
              </a:rPr>
              <a:t>(AWS, </a:t>
            </a:r>
            <a:r>
              <a:rPr sz="1200" spc="-120">
                <a:latin typeface="Trebuchet MS"/>
                <a:cs typeface="Trebuchet MS"/>
              </a:rPr>
              <a:t>GCP,</a:t>
            </a:r>
            <a:r>
              <a:rPr sz="1200" spc="-125">
                <a:latin typeface="Trebuchet MS"/>
                <a:cs typeface="Trebuchet MS"/>
              </a:rPr>
              <a:t> </a:t>
            </a:r>
            <a:r>
              <a:rPr lang="nb-NO" sz="1200" spc="-12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Azure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27787" y="5551716"/>
            <a:ext cx="9916160" cy="289560"/>
          </a:xfrm>
          <a:prstGeom prst="rect">
            <a:avLst/>
          </a:prstGeom>
          <a:solidFill>
            <a:srgbClr val="6C03A8"/>
          </a:solidFill>
          <a:ln w="9525">
            <a:solidFill>
              <a:srgbClr val="000000"/>
            </a:solidFill>
          </a:ln>
        </p:spPr>
        <p:txBody>
          <a:bodyPr vert="horz" wrap="square" lIns="0" tIns="247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95"/>
              </a:spcBef>
            </a:pPr>
            <a:r>
              <a:rPr sz="1400" spc="-60">
                <a:solidFill>
                  <a:srgbClr val="FFFFFF"/>
                </a:solidFill>
                <a:latin typeface="Trebuchet MS"/>
                <a:cs typeface="Trebuchet MS"/>
              </a:rPr>
              <a:t>Data</a:t>
            </a:r>
            <a:r>
              <a:rPr sz="1400" spc="-114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60">
                <a:solidFill>
                  <a:srgbClr val="FFFFFF"/>
                </a:solidFill>
                <a:latin typeface="Trebuchet MS"/>
                <a:cs typeface="Trebuchet MS"/>
              </a:rPr>
              <a:t>Governance</a:t>
            </a:r>
            <a:endParaRPr sz="14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67373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85"/>
              <a:t>Key </a:t>
            </a:r>
            <a:r>
              <a:rPr spc="-145"/>
              <a:t>principles </a:t>
            </a:r>
            <a:r>
              <a:rPr spc="-135"/>
              <a:t>when </a:t>
            </a:r>
            <a:r>
              <a:rPr spc="-120"/>
              <a:t>building </a:t>
            </a:r>
            <a:r>
              <a:rPr spc="-95"/>
              <a:t>a </a:t>
            </a:r>
            <a:r>
              <a:rPr spc="-130"/>
              <a:t>modern </a:t>
            </a:r>
            <a:r>
              <a:rPr spc="-114"/>
              <a:t>data</a:t>
            </a:r>
            <a:r>
              <a:rPr spc="-515"/>
              <a:t> </a:t>
            </a:r>
            <a:r>
              <a:rPr spc="-125"/>
              <a:t>platform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605025" y="1776476"/>
            <a:ext cx="18713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75">
                <a:solidFill>
                  <a:srgbClr val="333333"/>
                </a:solidFill>
                <a:latin typeface="Trebuchet MS"/>
                <a:cs typeface="Trebuchet MS"/>
              </a:rPr>
              <a:t>Value driven</a:t>
            </a:r>
            <a:r>
              <a:rPr sz="1200" b="1" spc="-110">
                <a:solidFill>
                  <a:srgbClr val="333333"/>
                </a:solidFill>
                <a:latin typeface="Trebuchet MS"/>
                <a:cs typeface="Trebuchet MS"/>
              </a:rPr>
              <a:t> </a:t>
            </a:r>
            <a:r>
              <a:rPr sz="1200" b="1" spc="-70">
                <a:solidFill>
                  <a:srgbClr val="333333"/>
                </a:solidFill>
                <a:latin typeface="Trebuchet MS"/>
                <a:cs typeface="Trebuchet MS"/>
              </a:rPr>
              <a:t>implementation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886967" y="1600200"/>
            <a:ext cx="515620" cy="512445"/>
            <a:chOff x="886967" y="1600200"/>
            <a:chExt cx="515620" cy="512445"/>
          </a:xfrm>
        </p:grpSpPr>
        <p:sp>
          <p:nvSpPr>
            <p:cNvPr id="5" name="object 5"/>
            <p:cNvSpPr/>
            <p:nvPr/>
          </p:nvSpPr>
          <p:spPr>
            <a:xfrm>
              <a:off x="886967" y="1600200"/>
              <a:ext cx="515112" cy="51206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32687" y="1655064"/>
              <a:ext cx="420624" cy="42062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608391" y="4266692"/>
            <a:ext cx="27482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65">
                <a:solidFill>
                  <a:srgbClr val="333333"/>
                </a:solidFill>
                <a:latin typeface="Trebuchet MS"/>
                <a:cs typeface="Trebuchet MS"/>
              </a:rPr>
              <a:t>Automated </a:t>
            </a:r>
            <a:r>
              <a:rPr sz="1200" b="1" spc="-60">
                <a:solidFill>
                  <a:srgbClr val="333333"/>
                </a:solidFill>
                <a:latin typeface="Trebuchet MS"/>
                <a:cs typeface="Trebuchet MS"/>
              </a:rPr>
              <a:t>and </a:t>
            </a:r>
            <a:r>
              <a:rPr sz="1200" b="1" spc="-70">
                <a:solidFill>
                  <a:srgbClr val="333333"/>
                </a:solidFill>
                <a:latin typeface="Trebuchet MS"/>
                <a:cs typeface="Trebuchet MS"/>
              </a:rPr>
              <a:t>collaborative</a:t>
            </a:r>
            <a:r>
              <a:rPr sz="1200" b="1" spc="-120">
                <a:solidFill>
                  <a:srgbClr val="333333"/>
                </a:solidFill>
                <a:latin typeface="Trebuchet MS"/>
                <a:cs typeface="Trebuchet MS"/>
              </a:rPr>
              <a:t> </a:t>
            </a:r>
            <a:r>
              <a:rPr sz="1200" b="1" spc="-70">
                <a:solidFill>
                  <a:srgbClr val="333333"/>
                </a:solidFill>
                <a:latin typeface="Trebuchet MS"/>
                <a:cs typeface="Trebuchet MS"/>
              </a:rPr>
              <a:t>development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890016" y="4075176"/>
            <a:ext cx="515620" cy="515620"/>
            <a:chOff x="890016" y="4075176"/>
            <a:chExt cx="515620" cy="515620"/>
          </a:xfrm>
        </p:grpSpPr>
        <p:sp>
          <p:nvSpPr>
            <p:cNvPr id="9" name="object 9"/>
            <p:cNvSpPr/>
            <p:nvPr/>
          </p:nvSpPr>
          <p:spPr>
            <a:xfrm>
              <a:off x="890016" y="4075176"/>
              <a:ext cx="515112" cy="51511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993648" y="4181856"/>
              <a:ext cx="307847" cy="31089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7287615" y="1773428"/>
            <a:ext cx="1390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30">
                <a:solidFill>
                  <a:srgbClr val="333333"/>
                </a:solidFill>
                <a:latin typeface="Trebuchet MS"/>
                <a:cs typeface="Trebuchet MS"/>
              </a:rPr>
              <a:t>Modular</a:t>
            </a:r>
            <a:r>
              <a:rPr sz="1200" b="1" spc="-110">
                <a:solidFill>
                  <a:srgbClr val="333333"/>
                </a:solidFill>
                <a:latin typeface="Trebuchet MS"/>
                <a:cs typeface="Trebuchet MS"/>
              </a:rPr>
              <a:t> </a:t>
            </a:r>
            <a:r>
              <a:rPr sz="1200" b="1" spc="-85">
                <a:solidFill>
                  <a:srgbClr val="333333"/>
                </a:solidFill>
                <a:latin typeface="Trebuchet MS"/>
                <a:cs typeface="Trebuchet MS"/>
              </a:rPr>
              <a:t>Architecture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574535" y="4084320"/>
            <a:ext cx="515112" cy="5151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3" name="object 13"/>
          <p:cNvGrpSpPr/>
          <p:nvPr/>
        </p:nvGrpSpPr>
        <p:grpSpPr>
          <a:xfrm>
            <a:off x="6568440" y="1603247"/>
            <a:ext cx="515620" cy="515620"/>
            <a:chOff x="6568440" y="1603247"/>
            <a:chExt cx="515620" cy="515620"/>
          </a:xfrm>
        </p:grpSpPr>
        <p:sp>
          <p:nvSpPr>
            <p:cNvPr id="14" name="object 14"/>
            <p:cNvSpPr/>
            <p:nvPr/>
          </p:nvSpPr>
          <p:spPr>
            <a:xfrm>
              <a:off x="6568440" y="1603247"/>
              <a:ext cx="515111" cy="51511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617208" y="1648967"/>
              <a:ext cx="420624" cy="4206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/>
          <p:nvPr/>
        </p:nvSpPr>
        <p:spPr>
          <a:xfrm>
            <a:off x="883919" y="2191511"/>
            <a:ext cx="4736591" cy="148132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917785" y="2541523"/>
            <a:ext cx="4488815" cy="7543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60">
                <a:latin typeface="Trebuchet MS"/>
                <a:cs typeface="Trebuchet MS"/>
              </a:rPr>
              <a:t>Starts </a:t>
            </a:r>
            <a:r>
              <a:rPr sz="1200" spc="-55">
                <a:latin typeface="Trebuchet MS"/>
                <a:cs typeface="Trebuchet MS"/>
              </a:rPr>
              <a:t>with </a:t>
            </a:r>
            <a:r>
              <a:rPr sz="1200" spc="-40">
                <a:latin typeface="Trebuchet MS"/>
                <a:cs typeface="Trebuchet MS"/>
              </a:rPr>
              <a:t>business </a:t>
            </a:r>
            <a:r>
              <a:rPr sz="1200" spc="-65">
                <a:latin typeface="Trebuchet MS"/>
                <a:cs typeface="Trebuchet MS"/>
              </a:rPr>
              <a:t>objectives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229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needs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ts val="1415"/>
              </a:lnSpc>
              <a:spcBef>
                <a:spcPts val="4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60">
                <a:latin typeface="Trebuchet MS"/>
                <a:cs typeface="Trebuchet MS"/>
              </a:rPr>
              <a:t>Identify the </a:t>
            </a:r>
            <a:r>
              <a:rPr sz="1200" spc="-55">
                <a:latin typeface="Trebuchet MS"/>
                <a:cs typeface="Trebuchet MS"/>
              </a:rPr>
              <a:t>insight </a:t>
            </a:r>
            <a:r>
              <a:rPr sz="1200" spc="-50">
                <a:latin typeface="Trebuchet MS"/>
                <a:cs typeface="Trebuchet MS"/>
              </a:rPr>
              <a:t>needed to </a:t>
            </a:r>
            <a:r>
              <a:rPr sz="1200" spc="-75">
                <a:latin typeface="Trebuchet MS"/>
                <a:cs typeface="Trebuchet MS"/>
              </a:rPr>
              <a:t>create </a:t>
            </a:r>
            <a:r>
              <a:rPr sz="1200" spc="-40">
                <a:latin typeface="Trebuchet MS"/>
                <a:cs typeface="Trebuchet MS"/>
              </a:rPr>
              <a:t>business</a:t>
            </a:r>
            <a:r>
              <a:rPr sz="1200" spc="-26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value</a:t>
            </a:r>
            <a:endParaRPr sz="1200">
              <a:latin typeface="Trebuchet MS"/>
              <a:cs typeface="Trebuchet MS"/>
            </a:endParaRPr>
          </a:p>
          <a:p>
            <a:pPr marL="184150" marR="5080" indent="-171450">
              <a:lnSpc>
                <a:spcPts val="1420"/>
              </a:lnSpc>
              <a:spcBef>
                <a:spcPts val="40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45">
                <a:latin typeface="Trebuchet MS"/>
                <a:cs typeface="Trebuchet MS"/>
              </a:rPr>
              <a:t>Avoid </a:t>
            </a:r>
            <a:r>
              <a:rPr sz="1200" spc="-35">
                <a:latin typeface="Trebuchet MS"/>
                <a:cs typeface="Trebuchet MS"/>
              </a:rPr>
              <a:t>common </a:t>
            </a:r>
            <a:r>
              <a:rPr sz="1200" spc="-70">
                <a:latin typeface="Trebuchet MS"/>
                <a:cs typeface="Trebuchet MS"/>
              </a:rPr>
              <a:t>pitfalls </a:t>
            </a:r>
            <a:r>
              <a:rPr sz="1200" spc="-40">
                <a:latin typeface="Trebuchet MS"/>
                <a:cs typeface="Trebuchet MS"/>
              </a:rPr>
              <a:t>as </a:t>
            </a:r>
            <a:r>
              <a:rPr sz="1200" spc="-60">
                <a:latin typeface="Trebuchet MS"/>
                <a:cs typeface="Trebuchet MS"/>
              </a:rPr>
              <a:t>starting </a:t>
            </a:r>
            <a:r>
              <a:rPr sz="1200" spc="-55">
                <a:latin typeface="Trebuchet MS"/>
                <a:cs typeface="Trebuchet MS"/>
              </a:rPr>
              <a:t>with </a:t>
            </a:r>
            <a:r>
              <a:rPr sz="1200" spc="-60">
                <a:latin typeface="Trebuchet MS"/>
                <a:cs typeface="Trebuchet MS"/>
              </a:rPr>
              <a:t>the </a:t>
            </a:r>
            <a:r>
              <a:rPr sz="1200" spc="-50">
                <a:latin typeface="Trebuchet MS"/>
                <a:cs typeface="Trebuchet MS"/>
              </a:rPr>
              <a:t>technology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55">
                <a:latin typeface="Trebuchet MS"/>
                <a:cs typeface="Trebuchet MS"/>
              </a:rPr>
              <a:t>building  </a:t>
            </a:r>
            <a:r>
              <a:rPr sz="1200" spc="-65">
                <a:latin typeface="Trebuchet MS"/>
                <a:cs typeface="Trebuchet MS"/>
              </a:rPr>
              <a:t>complex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solution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which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35">
                <a:latin typeface="Trebuchet MS"/>
                <a:cs typeface="Trebuchet MS"/>
              </a:rPr>
              <a:t>doe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not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creat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busines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valu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30">
                <a:latin typeface="Trebuchet MS"/>
                <a:cs typeface="Trebuchet MS"/>
              </a:rPr>
              <a:t>or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i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needed.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886967" y="4669535"/>
            <a:ext cx="4745735" cy="147828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920056" y="5019547"/>
            <a:ext cx="3514725" cy="7543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50">
                <a:latin typeface="Trebuchet MS"/>
                <a:cs typeface="Trebuchet MS"/>
              </a:rPr>
              <a:t>Improve </a:t>
            </a:r>
            <a:r>
              <a:rPr sz="1200" spc="-60">
                <a:latin typeface="Trebuchet MS"/>
                <a:cs typeface="Trebuchet MS"/>
              </a:rPr>
              <a:t>collaboration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50">
                <a:latin typeface="Trebuchet MS"/>
                <a:cs typeface="Trebuchet MS"/>
              </a:rPr>
              <a:t>version</a:t>
            </a:r>
            <a:r>
              <a:rPr sz="1200" spc="-21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control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ts val="1415"/>
              </a:lnSpc>
              <a:spcBef>
                <a:spcPts val="4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55">
                <a:latin typeface="Trebuchet MS"/>
                <a:cs typeface="Trebuchet MS"/>
              </a:rPr>
              <a:t>Automate deployment </a:t>
            </a:r>
            <a:r>
              <a:rPr sz="1200" spc="-45">
                <a:latin typeface="Trebuchet MS"/>
                <a:cs typeface="Trebuchet MS"/>
              </a:rPr>
              <a:t>through</a:t>
            </a:r>
            <a:r>
              <a:rPr sz="1200" spc="-16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CI/CD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ts val="1405"/>
              </a:lnSpc>
              <a:buFont typeface="Arial"/>
              <a:buChar char="•"/>
              <a:tabLst>
                <a:tab pos="184150" algn="l"/>
              </a:tabLst>
            </a:pPr>
            <a:r>
              <a:rPr sz="1200" spc="-95">
                <a:latin typeface="Trebuchet MS"/>
                <a:cs typeface="Trebuchet MS"/>
              </a:rPr>
              <a:t>Test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logic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pipeline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before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pushing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into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production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ts val="1430"/>
              </a:lnSpc>
              <a:buFont typeface="Arial"/>
              <a:buChar char="•"/>
              <a:tabLst>
                <a:tab pos="184150" algn="l"/>
              </a:tabLst>
            </a:pPr>
            <a:r>
              <a:rPr sz="1200" spc="-60">
                <a:latin typeface="Trebuchet MS"/>
                <a:cs typeface="Trebuchet MS"/>
              </a:rPr>
              <a:t>Enable short-cycles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65">
                <a:latin typeface="Trebuchet MS"/>
                <a:cs typeface="Trebuchet MS"/>
              </a:rPr>
              <a:t>incremental</a:t>
            </a:r>
            <a:r>
              <a:rPr sz="1200" spc="-1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development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571488" y="2188464"/>
            <a:ext cx="4736592" cy="147828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6605866" y="2443988"/>
            <a:ext cx="4587875" cy="94615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84150" marR="5080" indent="-171450">
              <a:lnSpc>
                <a:spcPct val="105000"/>
              </a:lnSpc>
              <a:spcBef>
                <a:spcPts val="2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35">
                <a:latin typeface="Trebuchet MS"/>
                <a:cs typeface="Trebuchet MS"/>
              </a:rPr>
              <a:t>Modularity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provides</a:t>
            </a:r>
            <a:r>
              <a:rPr sz="1200" spc="-75">
                <a:latin typeface="Trebuchet MS"/>
                <a:cs typeface="Trebuchet MS"/>
              </a:rPr>
              <a:t> flexibility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as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singl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component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can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b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replaced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30">
                <a:latin typeface="Trebuchet MS"/>
                <a:cs typeface="Trebuchet MS"/>
              </a:rPr>
              <a:t>or  </a:t>
            </a:r>
            <a:r>
              <a:rPr sz="1200" spc="-55">
                <a:latin typeface="Trebuchet MS"/>
                <a:cs typeface="Trebuchet MS"/>
              </a:rPr>
              <a:t>changed </a:t>
            </a:r>
            <a:r>
              <a:rPr sz="1200" spc="-50">
                <a:latin typeface="Trebuchet MS"/>
                <a:cs typeface="Trebuchet MS"/>
              </a:rPr>
              <a:t>without </a:t>
            </a:r>
            <a:r>
              <a:rPr sz="1200" spc="-75">
                <a:latin typeface="Trebuchet MS"/>
                <a:cs typeface="Trebuchet MS"/>
              </a:rPr>
              <a:t>affecting </a:t>
            </a:r>
            <a:r>
              <a:rPr sz="1200" spc="-60">
                <a:latin typeface="Trebuchet MS"/>
                <a:cs typeface="Trebuchet MS"/>
              </a:rPr>
              <a:t>the rest </a:t>
            </a:r>
            <a:r>
              <a:rPr sz="1200" spc="-45">
                <a:latin typeface="Trebuchet MS"/>
                <a:cs typeface="Trebuchet MS"/>
              </a:rPr>
              <a:t>of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27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architecture.</a:t>
            </a:r>
            <a:endParaRPr sz="1200">
              <a:latin typeface="Trebuchet MS"/>
              <a:cs typeface="Trebuchet MS"/>
            </a:endParaRPr>
          </a:p>
          <a:p>
            <a:pPr marL="184150" marR="521970" indent="-171450">
              <a:lnSpc>
                <a:spcPts val="1420"/>
              </a:lnSpc>
              <a:spcBef>
                <a:spcPts val="20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35">
                <a:latin typeface="Trebuchet MS"/>
                <a:cs typeface="Trebuchet MS"/>
              </a:rPr>
              <a:t>Domain </a:t>
            </a:r>
            <a:r>
              <a:rPr sz="1200" spc="-55">
                <a:latin typeface="Trebuchet MS"/>
                <a:cs typeface="Trebuchet MS"/>
              </a:rPr>
              <a:t>driven </a:t>
            </a:r>
            <a:r>
              <a:rPr sz="1200" spc="-70">
                <a:latin typeface="Trebuchet MS"/>
                <a:cs typeface="Trebuchet MS"/>
              </a:rPr>
              <a:t>architecture </a:t>
            </a:r>
            <a:r>
              <a:rPr sz="1200" spc="-55">
                <a:latin typeface="Trebuchet MS"/>
                <a:cs typeface="Trebuchet MS"/>
              </a:rPr>
              <a:t>where </a:t>
            </a:r>
            <a:r>
              <a:rPr sz="1200" spc="-40">
                <a:latin typeface="Trebuchet MS"/>
                <a:cs typeface="Trebuchet MS"/>
              </a:rPr>
              <a:t>domain </a:t>
            </a:r>
            <a:r>
              <a:rPr sz="1200" spc="-55">
                <a:latin typeface="Trebuchet MS"/>
                <a:cs typeface="Trebuchet MS"/>
              </a:rPr>
              <a:t>teams provide</a:t>
            </a:r>
            <a:r>
              <a:rPr sz="1200" spc="-27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ir  </a:t>
            </a:r>
            <a:r>
              <a:rPr sz="1200" spc="-65">
                <a:latin typeface="Trebuchet MS"/>
                <a:cs typeface="Trebuchet MS"/>
              </a:rPr>
              <a:t>capabilities </a:t>
            </a:r>
            <a:r>
              <a:rPr sz="1200" spc="-40">
                <a:latin typeface="Trebuchet MS"/>
                <a:cs typeface="Trebuchet MS"/>
              </a:rPr>
              <a:t>as </a:t>
            </a:r>
            <a:r>
              <a:rPr sz="1200" spc="-55">
                <a:latin typeface="Trebuchet MS"/>
                <a:cs typeface="Trebuchet MS"/>
              </a:rPr>
              <a:t>building blocks </a:t>
            </a:r>
            <a:r>
              <a:rPr sz="1200" spc="-50">
                <a:latin typeface="Trebuchet MS"/>
                <a:cs typeface="Trebuchet MS"/>
              </a:rPr>
              <a:t>to other</a:t>
            </a:r>
            <a:r>
              <a:rPr sz="1200" spc="-254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teams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ct val="100000"/>
              </a:lnSpc>
              <a:buFont typeface="Arial"/>
              <a:buChar char="•"/>
              <a:tabLst>
                <a:tab pos="184150" algn="l"/>
              </a:tabLst>
            </a:pPr>
            <a:r>
              <a:rPr sz="1200" spc="-55">
                <a:latin typeface="Trebuchet MS"/>
                <a:cs typeface="Trebuchet MS"/>
              </a:rPr>
              <a:t>Increase </a:t>
            </a:r>
            <a:r>
              <a:rPr sz="1200" spc="-65">
                <a:latin typeface="Trebuchet MS"/>
                <a:cs typeface="Trebuchet MS"/>
              </a:rPr>
              <a:t>scalability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60">
                <a:latin typeface="Trebuchet MS"/>
                <a:cs typeface="Trebuchet MS"/>
              </a:rPr>
              <a:t>reduce</a:t>
            </a:r>
            <a:r>
              <a:rPr sz="1200" spc="-1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dependencie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571488" y="4669535"/>
            <a:ext cx="4748784" cy="148132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605866" y="4266692"/>
            <a:ext cx="4547870" cy="16929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6040" algn="ctr">
              <a:lnSpc>
                <a:spcPct val="100000"/>
              </a:lnSpc>
              <a:spcBef>
                <a:spcPts val="100"/>
              </a:spcBef>
            </a:pPr>
            <a:r>
              <a:rPr sz="1200" b="1" spc="-90">
                <a:solidFill>
                  <a:srgbClr val="333333"/>
                </a:solidFill>
                <a:latin typeface="Trebuchet MS"/>
                <a:cs typeface="Trebuchet MS"/>
              </a:rPr>
              <a:t>Flexible </a:t>
            </a:r>
            <a:r>
              <a:rPr sz="1200" b="1" spc="-60">
                <a:solidFill>
                  <a:srgbClr val="333333"/>
                </a:solidFill>
                <a:latin typeface="Trebuchet MS"/>
                <a:cs typeface="Trebuchet MS"/>
              </a:rPr>
              <a:t>and </a:t>
            </a:r>
            <a:r>
              <a:rPr sz="1200" b="1" spc="-70">
                <a:solidFill>
                  <a:srgbClr val="333333"/>
                </a:solidFill>
                <a:latin typeface="Trebuchet MS"/>
                <a:cs typeface="Trebuchet MS"/>
              </a:rPr>
              <a:t>scalable </a:t>
            </a:r>
            <a:r>
              <a:rPr sz="1200" b="1" spc="-60">
                <a:solidFill>
                  <a:srgbClr val="333333"/>
                </a:solidFill>
                <a:latin typeface="Trebuchet MS"/>
                <a:cs typeface="Trebuchet MS"/>
              </a:rPr>
              <a:t>data storing and</a:t>
            </a:r>
            <a:r>
              <a:rPr sz="1200" b="1" spc="-200">
                <a:solidFill>
                  <a:srgbClr val="333333"/>
                </a:solidFill>
                <a:latin typeface="Trebuchet MS"/>
                <a:cs typeface="Trebuchet MS"/>
              </a:rPr>
              <a:t> </a:t>
            </a:r>
            <a:r>
              <a:rPr sz="1200" b="1" spc="-65">
                <a:solidFill>
                  <a:srgbClr val="333333"/>
                </a:solidFill>
                <a:latin typeface="Trebuchet MS"/>
                <a:cs typeface="Trebuchet MS"/>
              </a:rPr>
              <a:t>processing</a:t>
            </a:r>
            <a:endParaRPr sz="12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75">
                <a:latin typeface="Trebuchet MS"/>
                <a:cs typeface="Trebuchet MS"/>
              </a:rPr>
              <a:t>Full flexibility </a:t>
            </a:r>
            <a:r>
              <a:rPr sz="1200" spc="-50">
                <a:latin typeface="Trebuchet MS"/>
                <a:cs typeface="Trebuchet MS"/>
              </a:rPr>
              <a:t>in </a:t>
            </a:r>
            <a:r>
              <a:rPr sz="1200" spc="-35">
                <a:latin typeface="Trebuchet MS"/>
                <a:cs typeface="Trebuchet MS"/>
              </a:rPr>
              <a:t>use </a:t>
            </a:r>
            <a:r>
              <a:rPr sz="1200" spc="-45">
                <a:latin typeface="Trebuchet MS"/>
                <a:cs typeface="Trebuchet MS"/>
              </a:rPr>
              <a:t>of source</a:t>
            </a:r>
            <a:r>
              <a:rPr sz="1200" spc="-26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data</a:t>
            </a:r>
            <a:endParaRPr sz="1200">
              <a:latin typeface="Trebuchet MS"/>
              <a:cs typeface="Trebuchet MS"/>
            </a:endParaRPr>
          </a:p>
          <a:p>
            <a:pPr marL="184150" indent="-171450">
              <a:lnSpc>
                <a:spcPts val="1430"/>
              </a:lnSpc>
              <a:spcBef>
                <a:spcPts val="4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70">
                <a:latin typeface="Trebuchet MS"/>
                <a:cs typeface="Trebuchet MS"/>
              </a:rPr>
              <a:t>The </a:t>
            </a:r>
            <a:r>
              <a:rPr sz="1200" spc="-125">
                <a:latin typeface="Trebuchet MS"/>
                <a:cs typeface="Trebuchet MS"/>
              </a:rPr>
              <a:t>ELT </a:t>
            </a:r>
            <a:r>
              <a:rPr sz="1200" spc="-55">
                <a:latin typeface="Trebuchet MS"/>
                <a:cs typeface="Trebuchet MS"/>
              </a:rPr>
              <a:t>approach </a:t>
            </a:r>
            <a:r>
              <a:rPr sz="1200" spc="-50">
                <a:latin typeface="Trebuchet MS"/>
                <a:cs typeface="Trebuchet MS"/>
              </a:rPr>
              <a:t>enables </a:t>
            </a:r>
            <a:r>
              <a:rPr sz="1200" spc="-65">
                <a:latin typeface="Trebuchet MS"/>
                <a:cs typeface="Trebuchet MS"/>
              </a:rPr>
              <a:t>faster </a:t>
            </a:r>
            <a:r>
              <a:rPr sz="1200" spc="-55">
                <a:latin typeface="Trebuchet MS"/>
                <a:cs typeface="Trebuchet MS"/>
              </a:rPr>
              <a:t>implementation </a:t>
            </a:r>
            <a:r>
              <a:rPr sz="1200" spc="-50">
                <a:latin typeface="Trebuchet MS"/>
                <a:cs typeface="Trebuchet MS"/>
              </a:rPr>
              <a:t>than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lang="nb-NO" sz="1200" spc="-60">
                <a:latin typeface="Trebuchet MS"/>
                <a:cs typeface="Trebuchet MS"/>
              </a:rPr>
              <a:t> </a:t>
            </a:r>
            <a:r>
              <a:rPr sz="1200" spc="-254">
                <a:latin typeface="Trebuchet MS"/>
                <a:cs typeface="Trebuchet MS"/>
              </a:rPr>
              <a:t> </a:t>
            </a:r>
            <a:r>
              <a:rPr sz="1200" spc="-95">
                <a:latin typeface="Trebuchet MS"/>
                <a:cs typeface="Trebuchet MS"/>
              </a:rPr>
              <a:t>ETL </a:t>
            </a:r>
            <a:r>
              <a:rPr sz="1200" spc="-45">
                <a:latin typeface="Trebuchet MS"/>
                <a:cs typeface="Trebuchet MS"/>
              </a:rPr>
              <a:t>process</a:t>
            </a:r>
            <a:endParaRPr sz="1200">
              <a:latin typeface="Trebuchet MS"/>
              <a:cs typeface="Trebuchet MS"/>
            </a:endParaRPr>
          </a:p>
          <a:p>
            <a:pPr marL="184150" marR="5080" indent="-171450">
              <a:lnSpc>
                <a:spcPts val="1390"/>
              </a:lnSpc>
              <a:spcBef>
                <a:spcPts val="7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50">
                <a:latin typeface="Trebuchet MS"/>
                <a:cs typeface="Trebuchet MS"/>
              </a:rPr>
              <a:t>Decoupling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of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loading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transformatio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35">
                <a:latin typeface="Trebuchet MS"/>
                <a:cs typeface="Trebuchet MS"/>
              </a:rPr>
              <a:t>doe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not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halt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load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when  </a:t>
            </a:r>
            <a:r>
              <a:rPr sz="1200" spc="-55">
                <a:latin typeface="Trebuchet MS"/>
                <a:cs typeface="Trebuchet MS"/>
              </a:rPr>
              <a:t>having </a:t>
            </a:r>
            <a:r>
              <a:rPr sz="1200" spc="-50">
                <a:latin typeface="Trebuchet MS"/>
                <a:cs typeface="Trebuchet MS"/>
              </a:rPr>
              <a:t>errors in</a:t>
            </a:r>
            <a:r>
              <a:rPr sz="1200" spc="-17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ransformations.</a:t>
            </a:r>
            <a:endParaRPr sz="1200">
              <a:latin typeface="Trebuchet MS"/>
              <a:cs typeface="Trebuchet MS"/>
            </a:endParaRPr>
          </a:p>
          <a:p>
            <a:pPr marL="184150" marR="471170" indent="-171450">
              <a:lnSpc>
                <a:spcPts val="1390"/>
              </a:lnSpc>
              <a:spcBef>
                <a:spcPts val="125"/>
              </a:spcBef>
              <a:buFont typeface="Arial"/>
              <a:buChar char="•"/>
              <a:tabLst>
                <a:tab pos="184150" algn="l"/>
              </a:tabLst>
            </a:pPr>
            <a:r>
              <a:rPr sz="1200" spc="-55">
                <a:latin typeface="Trebuchet MS"/>
                <a:cs typeface="Trebuchet MS"/>
              </a:rPr>
              <a:t>Loading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raw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data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directly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enable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or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control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of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data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50">
                <a:latin typeface="Trebuchet MS"/>
                <a:cs typeface="Trebuchet MS"/>
              </a:rPr>
              <a:t>debugging </a:t>
            </a:r>
            <a:r>
              <a:rPr sz="1200" spc="-45">
                <a:latin typeface="Trebuchet MS"/>
                <a:cs typeface="Trebuchet MS"/>
              </a:rPr>
              <a:t>is</a:t>
            </a:r>
            <a:r>
              <a:rPr sz="1200" spc="-13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easier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623304" y="4133088"/>
            <a:ext cx="420624" cy="42062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2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19125" y="1827377"/>
            <a:ext cx="1131570" cy="3853815"/>
            <a:chOff x="619125" y="1827377"/>
            <a:chExt cx="1131570" cy="3853815"/>
          </a:xfrm>
        </p:grpSpPr>
        <p:sp>
          <p:nvSpPr>
            <p:cNvPr id="3" name="object 3"/>
            <p:cNvSpPr/>
            <p:nvPr/>
          </p:nvSpPr>
          <p:spPr>
            <a:xfrm>
              <a:off x="623887" y="1952180"/>
              <a:ext cx="1122045" cy="3724275"/>
            </a:xfrm>
            <a:custGeom>
              <a:avLst/>
              <a:gdLst/>
              <a:ahLst/>
              <a:cxnLst/>
              <a:rect l="l" t="t" r="r" b="b"/>
              <a:pathLst>
                <a:path w="1122045" h="3724275">
                  <a:moveTo>
                    <a:pt x="0" y="0"/>
                  </a:moveTo>
                  <a:lnTo>
                    <a:pt x="1121880" y="0"/>
                  </a:lnTo>
                  <a:lnTo>
                    <a:pt x="11218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772134" y="1827377"/>
              <a:ext cx="727710" cy="252729"/>
            </a:xfrm>
            <a:custGeom>
              <a:avLst/>
              <a:gdLst/>
              <a:ahLst/>
              <a:cxnLst/>
              <a:rect l="l" t="t" r="r" b="b"/>
              <a:pathLst>
                <a:path w="727710" h="252730">
                  <a:moveTo>
                    <a:pt x="727392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727392" y="252298"/>
                  </a:lnTo>
                  <a:lnTo>
                    <a:pt x="727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950890" y="1838451"/>
            <a:ext cx="3714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ou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90">
                <a:solidFill>
                  <a:srgbClr val="6C03A8"/>
                </a:solidFill>
                <a:latin typeface="Trebuchet MS"/>
                <a:cs typeface="Trebuchet MS"/>
              </a:rPr>
              <a:t>c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186330" y="3455492"/>
            <a:ext cx="2513965" cy="2225675"/>
            <a:chOff x="2186330" y="3455492"/>
            <a:chExt cx="2513965" cy="2225675"/>
          </a:xfrm>
        </p:grpSpPr>
        <p:sp>
          <p:nvSpPr>
            <p:cNvPr id="7" name="object 7"/>
            <p:cNvSpPr/>
            <p:nvPr/>
          </p:nvSpPr>
          <p:spPr>
            <a:xfrm>
              <a:off x="2191092" y="3555174"/>
              <a:ext cx="2504440" cy="2121535"/>
            </a:xfrm>
            <a:custGeom>
              <a:avLst/>
              <a:gdLst/>
              <a:ahLst/>
              <a:cxnLst/>
              <a:rect l="l" t="t" r="r" b="b"/>
              <a:pathLst>
                <a:path w="2504440" h="2121535">
                  <a:moveTo>
                    <a:pt x="0" y="0"/>
                  </a:moveTo>
                  <a:lnTo>
                    <a:pt x="2504261" y="0"/>
                  </a:lnTo>
                  <a:lnTo>
                    <a:pt x="2504261" y="2120951"/>
                  </a:lnTo>
                  <a:lnTo>
                    <a:pt x="0" y="212095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967583" y="3455492"/>
              <a:ext cx="943610" cy="252729"/>
            </a:xfrm>
            <a:custGeom>
              <a:avLst/>
              <a:gdLst/>
              <a:ahLst/>
              <a:cxnLst/>
              <a:rect l="l" t="t" r="r" b="b"/>
              <a:pathLst>
                <a:path w="943610" h="252729">
                  <a:moveTo>
                    <a:pt x="943457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943457" y="252298"/>
                  </a:lnTo>
                  <a:lnTo>
                    <a:pt x="9434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117850" y="3466084"/>
            <a:ext cx="64516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Batch</a:t>
            </a:r>
            <a:r>
              <a:rPr sz="1000" spc="-13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ingest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619126" y="5748863"/>
            <a:ext cx="9394825" cy="630555"/>
            <a:chOff x="619126" y="5748863"/>
            <a:chExt cx="9394825" cy="630555"/>
          </a:xfrm>
        </p:grpSpPr>
        <p:sp>
          <p:nvSpPr>
            <p:cNvPr id="11" name="object 11"/>
            <p:cNvSpPr/>
            <p:nvPr/>
          </p:nvSpPr>
          <p:spPr>
            <a:xfrm>
              <a:off x="623888" y="5889763"/>
              <a:ext cx="9385300" cy="485140"/>
            </a:xfrm>
            <a:custGeom>
              <a:avLst/>
              <a:gdLst/>
              <a:ahLst/>
              <a:cxnLst/>
              <a:rect l="l" t="t" r="r" b="b"/>
              <a:pathLst>
                <a:path w="9385300" h="485139">
                  <a:moveTo>
                    <a:pt x="0" y="0"/>
                  </a:moveTo>
                  <a:lnTo>
                    <a:pt x="9384865" y="0"/>
                  </a:lnTo>
                  <a:lnTo>
                    <a:pt x="938486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35159" y="5748863"/>
              <a:ext cx="784225" cy="252729"/>
            </a:xfrm>
            <a:custGeom>
              <a:avLst/>
              <a:gdLst/>
              <a:ahLst/>
              <a:cxnLst/>
              <a:rect l="l" t="t" r="r" b="b"/>
              <a:pathLst>
                <a:path w="784225" h="252729">
                  <a:moveTo>
                    <a:pt x="783633" y="0"/>
                  </a:moveTo>
                  <a:lnTo>
                    <a:pt x="0" y="0"/>
                  </a:lnTo>
                  <a:lnTo>
                    <a:pt x="0" y="252307"/>
                  </a:lnTo>
                  <a:lnTo>
                    <a:pt x="783633" y="252307"/>
                  </a:lnTo>
                  <a:lnTo>
                    <a:pt x="7836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919015" y="5761227"/>
            <a:ext cx="4165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v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p</a:t>
            </a:r>
            <a:r>
              <a:rPr sz="1000" spc="-1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8904960" y="3541738"/>
            <a:ext cx="1115060" cy="2185035"/>
            <a:chOff x="8904960" y="3541738"/>
            <a:chExt cx="1115060" cy="2185035"/>
          </a:xfrm>
        </p:grpSpPr>
        <p:sp>
          <p:nvSpPr>
            <p:cNvPr id="15" name="object 15"/>
            <p:cNvSpPr/>
            <p:nvPr/>
          </p:nvSpPr>
          <p:spPr>
            <a:xfrm>
              <a:off x="8909722" y="3681425"/>
              <a:ext cx="1105535" cy="2040889"/>
            </a:xfrm>
            <a:custGeom>
              <a:avLst/>
              <a:gdLst/>
              <a:ahLst/>
              <a:cxnLst/>
              <a:rect l="l" t="t" r="r" b="b"/>
              <a:pathLst>
                <a:path w="1105534" h="2040889">
                  <a:moveTo>
                    <a:pt x="0" y="0"/>
                  </a:moveTo>
                  <a:lnTo>
                    <a:pt x="1105430" y="0"/>
                  </a:lnTo>
                  <a:lnTo>
                    <a:pt x="1105430" y="2040401"/>
                  </a:lnTo>
                  <a:lnTo>
                    <a:pt x="0" y="204040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976372" y="3541738"/>
              <a:ext cx="958850" cy="421005"/>
            </a:xfrm>
            <a:custGeom>
              <a:avLst/>
              <a:gdLst/>
              <a:ahLst/>
              <a:cxnLst/>
              <a:rect l="l" t="t" r="r" b="b"/>
              <a:pathLst>
                <a:path w="958850" h="421004">
                  <a:moveTo>
                    <a:pt x="958659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958659" y="420535"/>
                  </a:lnTo>
                  <a:lnTo>
                    <a:pt x="9586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204045" y="3554476"/>
            <a:ext cx="5054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Analytic</a:t>
            </a:r>
            <a:r>
              <a:rPr sz="1000" spc="-14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140">
                <a:solidFill>
                  <a:srgbClr val="6C03A8"/>
                </a:solidFill>
                <a:latin typeface="Trebuchet MS"/>
                <a:cs typeface="Trebuchet MS"/>
              </a:rPr>
              <a:t>/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169946" y="3706876"/>
            <a:ext cx="57340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ashboard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19125" y="987844"/>
            <a:ext cx="9339580" cy="617855"/>
            <a:chOff x="619125" y="987844"/>
            <a:chExt cx="9339580" cy="617855"/>
          </a:xfrm>
        </p:grpSpPr>
        <p:sp>
          <p:nvSpPr>
            <p:cNvPr id="20" name="object 20"/>
            <p:cNvSpPr/>
            <p:nvPr/>
          </p:nvSpPr>
          <p:spPr>
            <a:xfrm>
              <a:off x="623887" y="1116152"/>
              <a:ext cx="9330055" cy="485140"/>
            </a:xfrm>
            <a:custGeom>
              <a:avLst/>
              <a:gdLst/>
              <a:ahLst/>
              <a:cxnLst/>
              <a:rect l="l" t="t" r="r" b="b"/>
              <a:pathLst>
                <a:path w="9330055" h="485140">
                  <a:moveTo>
                    <a:pt x="0" y="0"/>
                  </a:moveTo>
                  <a:lnTo>
                    <a:pt x="9329575" y="0"/>
                  </a:lnTo>
                  <a:lnTo>
                    <a:pt x="932957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739622" y="987843"/>
              <a:ext cx="1045210" cy="252729"/>
            </a:xfrm>
            <a:custGeom>
              <a:avLst/>
              <a:gdLst/>
              <a:ahLst/>
              <a:cxnLst/>
              <a:rect l="l" t="t" r="r" b="b"/>
              <a:pathLst>
                <a:path w="1045210" h="252730">
                  <a:moveTo>
                    <a:pt x="1045019" y="0"/>
                  </a:moveTo>
                  <a:lnTo>
                    <a:pt x="0" y="0"/>
                  </a:lnTo>
                  <a:lnTo>
                    <a:pt x="0" y="239991"/>
                  </a:lnTo>
                  <a:lnTo>
                    <a:pt x="0" y="252310"/>
                  </a:lnTo>
                  <a:lnTo>
                    <a:pt x="1045019" y="252310"/>
                  </a:lnTo>
                  <a:lnTo>
                    <a:pt x="1045019" y="239991"/>
                  </a:lnTo>
                  <a:lnTo>
                    <a:pt x="10450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900982" y="1000252"/>
            <a:ext cx="72453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Orchestratio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695342" y="1877745"/>
            <a:ext cx="3145790" cy="3853179"/>
            <a:chOff x="4695342" y="1877745"/>
            <a:chExt cx="3145790" cy="3853179"/>
          </a:xfrm>
        </p:grpSpPr>
        <p:sp>
          <p:nvSpPr>
            <p:cNvPr id="24" name="object 24"/>
            <p:cNvSpPr/>
            <p:nvPr/>
          </p:nvSpPr>
          <p:spPr>
            <a:xfrm>
              <a:off x="4695342" y="3824960"/>
              <a:ext cx="377190" cy="797560"/>
            </a:xfrm>
            <a:custGeom>
              <a:avLst/>
              <a:gdLst/>
              <a:ahLst/>
              <a:cxnLst/>
              <a:rect l="l" t="t" r="r" b="b"/>
              <a:pathLst>
                <a:path w="377189" h="797560">
                  <a:moveTo>
                    <a:pt x="181990" y="784339"/>
                  </a:moveTo>
                  <a:lnTo>
                    <a:pt x="0" y="784339"/>
                  </a:lnTo>
                  <a:lnTo>
                    <a:pt x="0" y="797039"/>
                  </a:lnTo>
                  <a:lnTo>
                    <a:pt x="191846" y="797039"/>
                  </a:lnTo>
                  <a:lnTo>
                    <a:pt x="194690" y="794194"/>
                  </a:lnTo>
                  <a:lnTo>
                    <a:pt x="194690" y="790689"/>
                  </a:lnTo>
                  <a:lnTo>
                    <a:pt x="181990" y="790689"/>
                  </a:lnTo>
                  <a:lnTo>
                    <a:pt x="181990" y="784339"/>
                  </a:lnTo>
                  <a:close/>
                </a:path>
                <a:path w="377189" h="797560">
                  <a:moveTo>
                    <a:pt x="300469" y="31750"/>
                  </a:moveTo>
                  <a:lnTo>
                    <a:pt x="184835" y="31750"/>
                  </a:lnTo>
                  <a:lnTo>
                    <a:pt x="181990" y="34594"/>
                  </a:lnTo>
                  <a:lnTo>
                    <a:pt x="181990" y="790689"/>
                  </a:lnTo>
                  <a:lnTo>
                    <a:pt x="188340" y="784339"/>
                  </a:lnTo>
                  <a:lnTo>
                    <a:pt x="194690" y="784339"/>
                  </a:lnTo>
                  <a:lnTo>
                    <a:pt x="194690" y="44450"/>
                  </a:lnTo>
                  <a:lnTo>
                    <a:pt x="188340" y="44450"/>
                  </a:lnTo>
                  <a:lnTo>
                    <a:pt x="194690" y="38100"/>
                  </a:lnTo>
                  <a:lnTo>
                    <a:pt x="300469" y="38100"/>
                  </a:lnTo>
                  <a:lnTo>
                    <a:pt x="300469" y="31750"/>
                  </a:lnTo>
                  <a:close/>
                </a:path>
                <a:path w="377189" h="797560">
                  <a:moveTo>
                    <a:pt x="194690" y="784339"/>
                  </a:moveTo>
                  <a:lnTo>
                    <a:pt x="188340" y="784339"/>
                  </a:lnTo>
                  <a:lnTo>
                    <a:pt x="181990" y="790689"/>
                  </a:lnTo>
                  <a:lnTo>
                    <a:pt x="194690" y="790689"/>
                  </a:lnTo>
                  <a:lnTo>
                    <a:pt x="194690" y="784339"/>
                  </a:lnTo>
                  <a:close/>
                </a:path>
                <a:path w="377189" h="797560">
                  <a:moveTo>
                    <a:pt x="300469" y="0"/>
                  </a:moveTo>
                  <a:lnTo>
                    <a:pt x="300469" y="76200"/>
                  </a:lnTo>
                  <a:lnTo>
                    <a:pt x="363969" y="44450"/>
                  </a:lnTo>
                  <a:lnTo>
                    <a:pt x="313169" y="44450"/>
                  </a:lnTo>
                  <a:lnTo>
                    <a:pt x="313169" y="31750"/>
                  </a:lnTo>
                  <a:lnTo>
                    <a:pt x="363969" y="31750"/>
                  </a:lnTo>
                  <a:lnTo>
                    <a:pt x="300469" y="0"/>
                  </a:lnTo>
                  <a:close/>
                </a:path>
                <a:path w="377189" h="797560">
                  <a:moveTo>
                    <a:pt x="194690" y="38100"/>
                  </a:moveTo>
                  <a:lnTo>
                    <a:pt x="188340" y="44450"/>
                  </a:lnTo>
                  <a:lnTo>
                    <a:pt x="194690" y="44450"/>
                  </a:lnTo>
                  <a:lnTo>
                    <a:pt x="194690" y="38100"/>
                  </a:lnTo>
                  <a:close/>
                </a:path>
                <a:path w="377189" h="797560">
                  <a:moveTo>
                    <a:pt x="300469" y="38100"/>
                  </a:moveTo>
                  <a:lnTo>
                    <a:pt x="194690" y="38100"/>
                  </a:lnTo>
                  <a:lnTo>
                    <a:pt x="194690" y="44450"/>
                  </a:lnTo>
                  <a:lnTo>
                    <a:pt x="300469" y="44450"/>
                  </a:lnTo>
                  <a:lnTo>
                    <a:pt x="300469" y="38100"/>
                  </a:lnTo>
                  <a:close/>
                </a:path>
                <a:path w="377189" h="797560">
                  <a:moveTo>
                    <a:pt x="363969" y="31750"/>
                  </a:moveTo>
                  <a:lnTo>
                    <a:pt x="313169" y="31750"/>
                  </a:lnTo>
                  <a:lnTo>
                    <a:pt x="313169" y="44450"/>
                  </a:lnTo>
                  <a:lnTo>
                    <a:pt x="363969" y="44450"/>
                  </a:lnTo>
                  <a:lnTo>
                    <a:pt x="376669" y="38100"/>
                  </a:lnTo>
                  <a:lnTo>
                    <a:pt x="363969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558267" y="2001697"/>
              <a:ext cx="1278255" cy="3724275"/>
            </a:xfrm>
            <a:custGeom>
              <a:avLst/>
              <a:gdLst/>
              <a:ahLst/>
              <a:cxnLst/>
              <a:rect l="l" t="t" r="r" b="b"/>
              <a:pathLst>
                <a:path w="1278254" h="3724275">
                  <a:moveTo>
                    <a:pt x="0" y="0"/>
                  </a:moveTo>
                  <a:lnTo>
                    <a:pt x="1277770" y="0"/>
                  </a:lnTo>
                  <a:lnTo>
                    <a:pt x="127777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615976" y="1877745"/>
              <a:ext cx="1148080" cy="421005"/>
            </a:xfrm>
            <a:custGeom>
              <a:avLst/>
              <a:gdLst/>
              <a:ahLst/>
              <a:cxnLst/>
              <a:rect l="l" t="t" r="r" b="b"/>
              <a:pathLst>
                <a:path w="1148079" h="421005">
                  <a:moveTo>
                    <a:pt x="1147813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1147813" y="420535"/>
                  </a:lnTo>
                  <a:lnTo>
                    <a:pt x="11478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6876351" y="1890267"/>
            <a:ext cx="62928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Process</a:t>
            </a:r>
            <a:r>
              <a:rPr sz="1000" spc="-14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and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796976" y="2042667"/>
            <a:ext cx="78740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ransformatio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1745767" y="1996363"/>
            <a:ext cx="4614545" cy="3733800"/>
            <a:chOff x="1745767" y="1996363"/>
            <a:chExt cx="4614545" cy="3733800"/>
          </a:xfrm>
        </p:grpSpPr>
        <p:sp>
          <p:nvSpPr>
            <p:cNvPr id="30" name="object 30"/>
            <p:cNvSpPr/>
            <p:nvPr/>
          </p:nvSpPr>
          <p:spPr>
            <a:xfrm>
              <a:off x="1745767" y="3807764"/>
              <a:ext cx="445770" cy="846455"/>
            </a:xfrm>
            <a:custGeom>
              <a:avLst/>
              <a:gdLst/>
              <a:ahLst/>
              <a:cxnLst/>
              <a:rect l="l" t="t" r="r" b="b"/>
              <a:pathLst>
                <a:path w="445769" h="846454">
                  <a:moveTo>
                    <a:pt x="369125" y="769785"/>
                  </a:moveTo>
                  <a:lnTo>
                    <a:pt x="369125" y="845985"/>
                  </a:lnTo>
                  <a:lnTo>
                    <a:pt x="432625" y="814235"/>
                  </a:lnTo>
                  <a:lnTo>
                    <a:pt x="381825" y="814235"/>
                  </a:lnTo>
                  <a:lnTo>
                    <a:pt x="381825" y="801535"/>
                  </a:lnTo>
                  <a:lnTo>
                    <a:pt x="432625" y="801535"/>
                  </a:lnTo>
                  <a:lnTo>
                    <a:pt x="369125" y="769785"/>
                  </a:lnTo>
                  <a:close/>
                </a:path>
                <a:path w="445769" h="846454">
                  <a:moveTo>
                    <a:pt x="216306" y="6350"/>
                  </a:moveTo>
                  <a:lnTo>
                    <a:pt x="216306" y="811390"/>
                  </a:lnTo>
                  <a:lnTo>
                    <a:pt x="219151" y="814235"/>
                  </a:lnTo>
                  <a:lnTo>
                    <a:pt x="369125" y="814235"/>
                  </a:lnTo>
                  <a:lnTo>
                    <a:pt x="369125" y="807885"/>
                  </a:lnTo>
                  <a:lnTo>
                    <a:pt x="229006" y="807885"/>
                  </a:lnTo>
                  <a:lnTo>
                    <a:pt x="222656" y="801535"/>
                  </a:lnTo>
                  <a:lnTo>
                    <a:pt x="229006" y="801535"/>
                  </a:lnTo>
                  <a:lnTo>
                    <a:pt x="229006" y="12700"/>
                  </a:lnTo>
                  <a:lnTo>
                    <a:pt x="222656" y="12700"/>
                  </a:lnTo>
                  <a:lnTo>
                    <a:pt x="216306" y="6350"/>
                  </a:lnTo>
                  <a:close/>
                </a:path>
                <a:path w="445769" h="846454">
                  <a:moveTo>
                    <a:pt x="432625" y="801535"/>
                  </a:moveTo>
                  <a:lnTo>
                    <a:pt x="381825" y="801535"/>
                  </a:lnTo>
                  <a:lnTo>
                    <a:pt x="381825" y="814235"/>
                  </a:lnTo>
                  <a:lnTo>
                    <a:pt x="432625" y="814235"/>
                  </a:lnTo>
                  <a:lnTo>
                    <a:pt x="445325" y="807885"/>
                  </a:lnTo>
                  <a:lnTo>
                    <a:pt x="432625" y="801535"/>
                  </a:lnTo>
                  <a:close/>
                </a:path>
                <a:path w="445769" h="846454">
                  <a:moveTo>
                    <a:pt x="229006" y="801535"/>
                  </a:moveTo>
                  <a:lnTo>
                    <a:pt x="222656" y="801535"/>
                  </a:lnTo>
                  <a:lnTo>
                    <a:pt x="229006" y="807885"/>
                  </a:lnTo>
                  <a:lnTo>
                    <a:pt x="229006" y="801535"/>
                  </a:lnTo>
                  <a:close/>
                </a:path>
                <a:path w="445769" h="846454">
                  <a:moveTo>
                    <a:pt x="369125" y="801535"/>
                  </a:moveTo>
                  <a:lnTo>
                    <a:pt x="229006" y="801535"/>
                  </a:lnTo>
                  <a:lnTo>
                    <a:pt x="229006" y="807885"/>
                  </a:lnTo>
                  <a:lnTo>
                    <a:pt x="369125" y="807885"/>
                  </a:lnTo>
                  <a:lnTo>
                    <a:pt x="369125" y="801535"/>
                  </a:lnTo>
                  <a:close/>
                </a:path>
                <a:path w="445769" h="846454">
                  <a:moveTo>
                    <a:pt x="226161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216306" y="12700"/>
                  </a:lnTo>
                  <a:lnTo>
                    <a:pt x="216306" y="6350"/>
                  </a:lnTo>
                  <a:lnTo>
                    <a:pt x="229006" y="6350"/>
                  </a:lnTo>
                  <a:lnTo>
                    <a:pt x="229006" y="2844"/>
                  </a:lnTo>
                  <a:lnTo>
                    <a:pt x="226161" y="0"/>
                  </a:lnTo>
                  <a:close/>
                </a:path>
                <a:path w="445769" h="846454">
                  <a:moveTo>
                    <a:pt x="229006" y="6350"/>
                  </a:moveTo>
                  <a:lnTo>
                    <a:pt x="216306" y="6350"/>
                  </a:lnTo>
                  <a:lnTo>
                    <a:pt x="222656" y="12700"/>
                  </a:lnTo>
                  <a:lnTo>
                    <a:pt x="229006" y="12700"/>
                  </a:lnTo>
                  <a:lnTo>
                    <a:pt x="229006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5072011" y="2001126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5537504" y="1896853"/>
            <a:ext cx="269875" cy="155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50"/>
              </a:lnSpc>
            </a:pPr>
            <a:r>
              <a:rPr sz="1000" spc="-60">
                <a:solidFill>
                  <a:srgbClr val="C00000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C00000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C00000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5238978" y="2338704"/>
            <a:ext cx="3670935" cy="2401570"/>
            <a:chOff x="5238978" y="2338704"/>
            <a:chExt cx="3670935" cy="2401570"/>
          </a:xfrm>
        </p:grpSpPr>
        <p:sp>
          <p:nvSpPr>
            <p:cNvPr id="34" name="object 34"/>
            <p:cNvSpPr/>
            <p:nvPr/>
          </p:nvSpPr>
          <p:spPr>
            <a:xfrm>
              <a:off x="6355384" y="3825531"/>
              <a:ext cx="202882" cy="762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836039" y="3857281"/>
              <a:ext cx="1073785" cy="882650"/>
            </a:xfrm>
            <a:custGeom>
              <a:avLst/>
              <a:gdLst/>
              <a:ahLst/>
              <a:cxnLst/>
              <a:rect l="l" t="t" r="r" b="b"/>
              <a:pathLst>
                <a:path w="1073784" h="882650">
                  <a:moveTo>
                    <a:pt x="997483" y="806234"/>
                  </a:moveTo>
                  <a:lnTo>
                    <a:pt x="997483" y="882434"/>
                  </a:lnTo>
                  <a:lnTo>
                    <a:pt x="1060983" y="850684"/>
                  </a:lnTo>
                  <a:lnTo>
                    <a:pt x="1010183" y="850684"/>
                  </a:lnTo>
                  <a:lnTo>
                    <a:pt x="1010183" y="837984"/>
                  </a:lnTo>
                  <a:lnTo>
                    <a:pt x="1060983" y="837984"/>
                  </a:lnTo>
                  <a:lnTo>
                    <a:pt x="997483" y="806234"/>
                  </a:lnTo>
                  <a:close/>
                </a:path>
                <a:path w="1073784" h="882650">
                  <a:moveTo>
                    <a:pt x="956919" y="6350"/>
                  </a:moveTo>
                  <a:lnTo>
                    <a:pt x="956919" y="847839"/>
                  </a:lnTo>
                  <a:lnTo>
                    <a:pt x="959764" y="850684"/>
                  </a:lnTo>
                  <a:lnTo>
                    <a:pt x="997483" y="850684"/>
                  </a:lnTo>
                  <a:lnTo>
                    <a:pt x="997483" y="844334"/>
                  </a:lnTo>
                  <a:lnTo>
                    <a:pt x="969619" y="844334"/>
                  </a:lnTo>
                  <a:lnTo>
                    <a:pt x="963269" y="837984"/>
                  </a:lnTo>
                  <a:lnTo>
                    <a:pt x="969619" y="837984"/>
                  </a:lnTo>
                  <a:lnTo>
                    <a:pt x="969619" y="12700"/>
                  </a:lnTo>
                  <a:lnTo>
                    <a:pt x="963269" y="12700"/>
                  </a:lnTo>
                  <a:lnTo>
                    <a:pt x="956919" y="6350"/>
                  </a:lnTo>
                  <a:close/>
                </a:path>
                <a:path w="1073784" h="882650">
                  <a:moveTo>
                    <a:pt x="1060983" y="837984"/>
                  </a:moveTo>
                  <a:lnTo>
                    <a:pt x="1010183" y="837984"/>
                  </a:lnTo>
                  <a:lnTo>
                    <a:pt x="1010183" y="850684"/>
                  </a:lnTo>
                  <a:lnTo>
                    <a:pt x="1060983" y="850684"/>
                  </a:lnTo>
                  <a:lnTo>
                    <a:pt x="1073683" y="844334"/>
                  </a:lnTo>
                  <a:lnTo>
                    <a:pt x="1060983" y="837984"/>
                  </a:lnTo>
                  <a:close/>
                </a:path>
                <a:path w="1073784" h="882650">
                  <a:moveTo>
                    <a:pt x="969619" y="837984"/>
                  </a:moveTo>
                  <a:lnTo>
                    <a:pt x="963269" y="837984"/>
                  </a:lnTo>
                  <a:lnTo>
                    <a:pt x="969619" y="844334"/>
                  </a:lnTo>
                  <a:lnTo>
                    <a:pt x="969619" y="837984"/>
                  </a:lnTo>
                  <a:close/>
                </a:path>
                <a:path w="1073784" h="882650">
                  <a:moveTo>
                    <a:pt x="997483" y="837984"/>
                  </a:moveTo>
                  <a:lnTo>
                    <a:pt x="969619" y="837984"/>
                  </a:lnTo>
                  <a:lnTo>
                    <a:pt x="969619" y="844334"/>
                  </a:lnTo>
                  <a:lnTo>
                    <a:pt x="997483" y="844334"/>
                  </a:lnTo>
                  <a:lnTo>
                    <a:pt x="997483" y="837984"/>
                  </a:lnTo>
                  <a:close/>
                </a:path>
                <a:path w="1073784" h="882650">
                  <a:moveTo>
                    <a:pt x="966774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956919" y="12700"/>
                  </a:lnTo>
                  <a:lnTo>
                    <a:pt x="956919" y="6350"/>
                  </a:lnTo>
                  <a:lnTo>
                    <a:pt x="969619" y="6350"/>
                  </a:lnTo>
                  <a:lnTo>
                    <a:pt x="969619" y="2844"/>
                  </a:lnTo>
                  <a:lnTo>
                    <a:pt x="966774" y="0"/>
                  </a:lnTo>
                  <a:close/>
                </a:path>
                <a:path w="1073784" h="882650">
                  <a:moveTo>
                    <a:pt x="969619" y="6350"/>
                  </a:moveTo>
                  <a:lnTo>
                    <a:pt x="956919" y="6350"/>
                  </a:lnTo>
                  <a:lnTo>
                    <a:pt x="963269" y="12700"/>
                  </a:lnTo>
                  <a:lnTo>
                    <a:pt x="969619" y="12700"/>
                  </a:lnTo>
                  <a:lnTo>
                    <a:pt x="969619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6355384" y="3824960"/>
              <a:ext cx="202882" cy="7620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5243741" y="3175342"/>
              <a:ext cx="953135" cy="673735"/>
            </a:xfrm>
            <a:custGeom>
              <a:avLst/>
              <a:gdLst/>
              <a:ahLst/>
              <a:cxnLst/>
              <a:rect l="l" t="t" r="r" b="b"/>
              <a:pathLst>
                <a:path w="953135" h="673735">
                  <a:moveTo>
                    <a:pt x="0" y="0"/>
                  </a:moveTo>
                  <a:lnTo>
                    <a:pt x="952700" y="0"/>
                  </a:lnTo>
                  <a:lnTo>
                    <a:pt x="952700" y="673656"/>
                  </a:lnTo>
                  <a:lnTo>
                    <a:pt x="0" y="67365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5247830" y="2343467"/>
              <a:ext cx="941069" cy="642620"/>
            </a:xfrm>
            <a:custGeom>
              <a:avLst/>
              <a:gdLst/>
              <a:ahLst/>
              <a:cxnLst/>
              <a:rect l="l" t="t" r="r" b="b"/>
              <a:pathLst>
                <a:path w="941070" h="642619">
                  <a:moveTo>
                    <a:pt x="0" y="0"/>
                  </a:moveTo>
                  <a:lnTo>
                    <a:pt x="940847" y="0"/>
                  </a:lnTo>
                  <a:lnTo>
                    <a:pt x="940847" y="642286"/>
                  </a:lnTo>
                  <a:lnTo>
                    <a:pt x="0" y="64228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1752993" y="1227836"/>
            <a:ext cx="803275" cy="252729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73355">
              <a:lnSpc>
                <a:spcPts val="955"/>
              </a:lnSpc>
            </a:pPr>
            <a:r>
              <a:rPr sz="800" spc="-30">
                <a:latin typeface="Trebuchet MS"/>
                <a:cs typeface="Trebuchet MS"/>
              </a:rPr>
              <a:t>Schedul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587576" y="6033052"/>
            <a:ext cx="11080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26695">
              <a:lnSpc>
                <a:spcPct val="100000"/>
              </a:lnSpc>
              <a:spcBef>
                <a:spcPts val="5"/>
              </a:spcBef>
            </a:pPr>
            <a:r>
              <a:rPr sz="800" spc="-25">
                <a:latin typeface="Trebuchet MS"/>
                <a:cs typeface="Trebuchet MS"/>
              </a:rPr>
              <a:t>Version</a:t>
            </a:r>
            <a:r>
              <a:rPr sz="800" spc="-6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Control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37700" y="6033627"/>
            <a:ext cx="8032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800" spc="-45">
                <a:latin typeface="Trebuchet MS"/>
                <a:cs typeface="Trebuchet MS"/>
              </a:rPr>
              <a:t>CI/CD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399893" y="4868240"/>
            <a:ext cx="2137410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327025">
              <a:lnSpc>
                <a:spcPct val="100000"/>
              </a:lnSpc>
              <a:spcBef>
                <a:spcPts val="10"/>
              </a:spcBef>
            </a:pPr>
            <a:r>
              <a:rPr sz="800" spc="-30">
                <a:latin typeface="Trebuchet MS"/>
                <a:cs typeface="Trebuchet MS"/>
              </a:rPr>
              <a:t>Data </a:t>
            </a:r>
            <a:r>
              <a:rPr sz="800" spc="-40">
                <a:latin typeface="Trebuchet MS"/>
                <a:cs typeface="Trebuchet MS"/>
              </a:rPr>
              <a:t>Replication/ingest </a:t>
            </a:r>
            <a:r>
              <a:rPr sz="800" spc="-25">
                <a:latin typeface="Trebuchet MS"/>
                <a:cs typeface="Trebuchet MS"/>
              </a:rPr>
              <a:t>as </a:t>
            </a:r>
            <a:r>
              <a:rPr sz="800" spc="-40">
                <a:latin typeface="Trebuchet MS"/>
                <a:cs typeface="Trebuchet MS"/>
              </a:rPr>
              <a:t>a</a:t>
            </a:r>
            <a:r>
              <a:rPr sz="800" spc="-120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servic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389949" y="3863060"/>
            <a:ext cx="1077595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38760">
              <a:lnSpc>
                <a:spcPct val="100000"/>
              </a:lnSpc>
              <a:spcBef>
                <a:spcPts val="5"/>
              </a:spcBef>
            </a:pPr>
            <a:r>
              <a:rPr sz="800" spc="-30">
                <a:latin typeface="Trebuchet MS"/>
                <a:cs typeface="Trebuchet MS"/>
              </a:rPr>
              <a:t>Custom</a:t>
            </a:r>
            <a:r>
              <a:rPr sz="800" spc="-5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Ingest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369255" y="2347757"/>
            <a:ext cx="701675" cy="956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919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65">
                <a:latin typeface="Trebuchet MS"/>
                <a:cs typeface="Trebuchet MS"/>
              </a:rPr>
              <a:t> </a:t>
            </a:r>
            <a:r>
              <a:rPr sz="800" spc="-45">
                <a:latin typeface="Trebuchet MS"/>
                <a:cs typeface="Trebuchet MS"/>
              </a:rPr>
              <a:t>Lake</a:t>
            </a:r>
            <a:endParaRPr sz="8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114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Warehous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9068993" y="4846980"/>
            <a:ext cx="757555" cy="59436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marL="135255" marR="128270" indent="64135">
              <a:lnSpc>
                <a:spcPts val="890"/>
              </a:lnSpc>
              <a:spcBef>
                <a:spcPts val="95"/>
              </a:spcBef>
            </a:pPr>
            <a:r>
              <a:rPr sz="800" spc="-25">
                <a:latin typeface="Trebuchet MS"/>
                <a:cs typeface="Trebuchet MS"/>
              </a:rPr>
              <a:t>Business  </a:t>
            </a:r>
            <a:r>
              <a:rPr sz="800" spc="-20">
                <a:latin typeface="Trebuchet MS"/>
                <a:cs typeface="Trebuchet MS"/>
              </a:rPr>
              <a:t>I</a:t>
            </a:r>
            <a:r>
              <a:rPr sz="800" spc="-30">
                <a:latin typeface="Trebuchet MS"/>
                <a:cs typeface="Trebuchet MS"/>
              </a:rPr>
              <a:t>n</a:t>
            </a:r>
            <a:r>
              <a:rPr sz="800" spc="-45">
                <a:latin typeface="Trebuchet MS"/>
                <a:cs typeface="Trebuchet MS"/>
              </a:rPr>
              <a:t>t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55">
                <a:latin typeface="Trebuchet MS"/>
                <a:cs typeface="Trebuchet MS"/>
              </a:rPr>
              <a:t>ll</a:t>
            </a:r>
            <a:r>
              <a:rPr sz="800" spc="-45">
                <a:latin typeface="Trebuchet MS"/>
                <a:cs typeface="Trebuchet MS"/>
              </a:rPr>
              <a:t>i</a:t>
            </a:r>
            <a:r>
              <a:rPr sz="800" spc="-15">
                <a:latin typeface="Trebuchet MS"/>
                <a:cs typeface="Trebuchet MS"/>
              </a:rPr>
              <a:t>g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20">
                <a:latin typeface="Trebuchet MS"/>
                <a:cs typeface="Trebuchet MS"/>
              </a:rPr>
              <a:t>n</a:t>
            </a:r>
            <a:r>
              <a:rPr sz="800" spc="-50">
                <a:latin typeface="Trebuchet MS"/>
                <a:cs typeface="Trebuchet MS"/>
              </a:rPr>
              <a:t>c</a:t>
            </a:r>
            <a:r>
              <a:rPr sz="800" spc="-40">
                <a:latin typeface="Trebuchet MS"/>
                <a:cs typeface="Trebuchet MS"/>
              </a:rPr>
              <a:t>e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720391" y="1866607"/>
            <a:ext cx="5640070" cy="3863340"/>
            <a:chOff x="720391" y="1866607"/>
            <a:chExt cx="5640070" cy="3863340"/>
          </a:xfrm>
        </p:grpSpPr>
        <p:sp>
          <p:nvSpPr>
            <p:cNvPr id="47" name="object 47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5072011" y="2000885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1283373" y="0"/>
                  </a:moveTo>
                  <a:lnTo>
                    <a:pt x="0" y="0"/>
                  </a:lnTo>
                  <a:lnTo>
                    <a:pt x="0" y="3723868"/>
                  </a:lnTo>
                  <a:lnTo>
                    <a:pt x="1283373" y="3723868"/>
                  </a:lnTo>
                  <a:lnTo>
                    <a:pt x="128337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5072011" y="2000885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5267528" y="1866607"/>
              <a:ext cx="808355" cy="252729"/>
            </a:xfrm>
            <a:custGeom>
              <a:avLst/>
              <a:gdLst/>
              <a:ahLst/>
              <a:cxnLst/>
              <a:rect l="l" t="t" r="r" b="b"/>
              <a:pathLst>
                <a:path w="808354" h="252730">
                  <a:moveTo>
                    <a:pt x="808240" y="0"/>
                  </a:moveTo>
                  <a:lnTo>
                    <a:pt x="0" y="0"/>
                  </a:lnTo>
                  <a:lnTo>
                    <a:pt x="0" y="252310"/>
                  </a:lnTo>
                  <a:lnTo>
                    <a:pt x="808240" y="252310"/>
                  </a:lnTo>
                  <a:lnTo>
                    <a:pt x="80824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4" name="object 54"/>
          <p:cNvSpPr txBox="1"/>
          <p:nvPr/>
        </p:nvSpPr>
        <p:spPr>
          <a:xfrm>
            <a:off x="5524804" y="1878075"/>
            <a:ext cx="2952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9" name="object 5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3</a:t>
            </a:r>
          </a:p>
        </p:txBody>
      </p:sp>
      <p:sp>
        <p:nvSpPr>
          <p:cNvPr id="55" name="object 55"/>
          <p:cNvSpPr txBox="1"/>
          <p:nvPr/>
        </p:nvSpPr>
        <p:spPr>
          <a:xfrm>
            <a:off x="5231460" y="3697897"/>
            <a:ext cx="987425" cy="146939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105"/>
              </a:lnSpc>
            </a:pPr>
            <a:r>
              <a:rPr sz="1000" spc="-45">
                <a:latin typeface="Trebuchet MS"/>
                <a:cs typeface="Trebuchet MS"/>
              </a:rPr>
              <a:t>Data</a:t>
            </a:r>
            <a:endParaRPr sz="10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1000" spc="-30">
                <a:latin typeface="Trebuchet MS"/>
                <a:cs typeface="Trebuchet MS"/>
              </a:rPr>
              <a:t>Warehous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681165" y="3059315"/>
            <a:ext cx="1017905" cy="53276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82880">
              <a:lnSpc>
                <a:spcPts val="960"/>
              </a:lnSpc>
            </a:pPr>
            <a:r>
              <a:rPr sz="800" spc="-30">
                <a:latin typeface="Trebuchet MS"/>
                <a:cs typeface="Trebuchet MS"/>
              </a:rPr>
              <a:t>Transformation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57" name="object 57"/>
          <p:cNvSpPr txBox="1">
            <a:spLocks noGrp="1"/>
          </p:cNvSpPr>
          <p:nvPr>
            <p:ph type="title"/>
          </p:nvPr>
        </p:nvSpPr>
        <p:spPr>
          <a:xfrm>
            <a:off x="611187" y="331723"/>
            <a:ext cx="57105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25"/>
              <a:t>Basic </a:t>
            </a:r>
            <a:r>
              <a:rPr spc="-130"/>
              <a:t>components </a:t>
            </a:r>
            <a:r>
              <a:rPr spc="-135"/>
              <a:t>in </a:t>
            </a:r>
            <a:r>
              <a:rPr spc="-95"/>
              <a:t>a </a:t>
            </a:r>
            <a:r>
              <a:rPr spc="-130"/>
              <a:t>modern </a:t>
            </a:r>
            <a:r>
              <a:rPr spc="-114"/>
              <a:t>data</a:t>
            </a:r>
            <a:r>
              <a:rPr spc="-530"/>
              <a:t> </a:t>
            </a:r>
            <a:r>
              <a:rPr spc="-125"/>
              <a:t>platform</a:t>
            </a:r>
          </a:p>
        </p:txBody>
      </p:sp>
      <p:sp>
        <p:nvSpPr>
          <p:cNvPr id="58" name="object 58"/>
          <p:cNvSpPr txBox="1"/>
          <p:nvPr/>
        </p:nvSpPr>
        <p:spPr>
          <a:xfrm>
            <a:off x="9077249" y="3972140"/>
            <a:ext cx="756920" cy="59436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2540" rIns="0" bIns="0" rtlCol="0">
            <a:spAutoFit/>
          </a:bodyPr>
          <a:lstStyle/>
          <a:p>
            <a:pPr marL="151130" marR="144145" algn="ctr">
              <a:lnSpc>
                <a:spcPct val="98700"/>
              </a:lnSpc>
              <a:spcBef>
                <a:spcPts val="20"/>
              </a:spcBef>
            </a:pPr>
            <a:r>
              <a:rPr sz="800" spc="-10">
                <a:latin typeface="Trebuchet MS"/>
                <a:cs typeface="Trebuchet MS"/>
              </a:rPr>
              <a:t>Machine  </a:t>
            </a:r>
            <a:r>
              <a:rPr sz="800" spc="-35">
                <a:latin typeface="Trebuchet MS"/>
                <a:cs typeface="Trebuchet MS"/>
              </a:rPr>
              <a:t>Learning</a:t>
            </a:r>
            <a:r>
              <a:rPr sz="800" spc="-130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&amp;  </a:t>
            </a:r>
            <a:r>
              <a:rPr sz="800" spc="-35">
                <a:latin typeface="Trebuchet MS"/>
                <a:cs typeface="Trebuchet MS"/>
              </a:rPr>
              <a:t>Analytics</a:t>
            </a:r>
            <a:endParaRPr sz="8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058025" y="1096517"/>
            <a:ext cx="4429125" cy="2489835"/>
            <a:chOff x="7058025" y="1096517"/>
            <a:chExt cx="4429125" cy="2489835"/>
          </a:xfrm>
        </p:grpSpPr>
        <p:sp>
          <p:nvSpPr>
            <p:cNvPr id="3" name="object 3"/>
            <p:cNvSpPr/>
            <p:nvPr/>
          </p:nvSpPr>
          <p:spPr>
            <a:xfrm>
              <a:off x="7058025" y="1096517"/>
              <a:ext cx="4429125" cy="2489835"/>
            </a:xfrm>
            <a:custGeom>
              <a:avLst/>
              <a:gdLst/>
              <a:ahLst/>
              <a:cxnLst/>
              <a:rect l="l" t="t" r="r" b="b"/>
              <a:pathLst>
                <a:path w="4429125" h="2489835">
                  <a:moveTo>
                    <a:pt x="4429125" y="0"/>
                  </a:moveTo>
                  <a:lnTo>
                    <a:pt x="0" y="0"/>
                  </a:lnTo>
                  <a:lnTo>
                    <a:pt x="0" y="2489644"/>
                  </a:lnTo>
                  <a:lnTo>
                    <a:pt x="4429125" y="2489644"/>
                  </a:lnTo>
                  <a:lnTo>
                    <a:pt x="4429125" y="0"/>
                  </a:lnTo>
                  <a:close/>
                </a:path>
              </a:pathLst>
            </a:custGeom>
            <a:solidFill>
              <a:srgbClr val="E8E8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7207199" y="1173606"/>
              <a:ext cx="4147197" cy="233279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35096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95"/>
              <a:t>Analytics/Machine</a:t>
            </a:r>
            <a:r>
              <a:rPr spc="-240"/>
              <a:t> </a:t>
            </a:r>
            <a:r>
              <a:rPr spc="-130"/>
              <a:t>learning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3887" y="1096517"/>
            <a:ext cx="5662930" cy="1674433"/>
          </a:xfrm>
          <a:prstGeom prst="rect">
            <a:avLst/>
          </a:prstGeom>
          <a:solidFill>
            <a:srgbClr val="E8E8E8"/>
          </a:solidFill>
        </p:spPr>
        <p:txBody>
          <a:bodyPr vert="horz" wrap="square" lIns="0" tIns="12700" rIns="0" bIns="0" rtlCol="0">
            <a:spAutoFit/>
          </a:bodyPr>
          <a:lstStyle/>
          <a:p>
            <a:pPr marL="207010" marR="628650" indent="-171450">
              <a:lnSpc>
                <a:spcPct val="105000"/>
              </a:lnSpc>
              <a:spcBef>
                <a:spcPts val="100"/>
              </a:spcBef>
              <a:buFont typeface="Arial"/>
              <a:buChar char="•"/>
              <a:tabLst>
                <a:tab pos="207645" algn="l"/>
              </a:tabLst>
            </a:pPr>
            <a:r>
              <a:rPr sz="1200" spc="-25">
                <a:latin typeface="Trebuchet MS"/>
                <a:cs typeface="Trebuchet MS"/>
              </a:rPr>
              <a:t>Machin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learning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“give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computers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ability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lear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without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being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explicitly  programmed”.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i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i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possibl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today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a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data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i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or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accessibl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ha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before.</a:t>
            </a:r>
            <a:endParaRPr sz="1200">
              <a:latin typeface="Trebuchet MS"/>
              <a:cs typeface="Trebuchet MS"/>
            </a:endParaRPr>
          </a:p>
          <a:p>
            <a:pPr marL="207010" marR="32384" indent="-171450">
              <a:lnSpc>
                <a:spcPts val="1420"/>
              </a:lnSpc>
              <a:spcBef>
                <a:spcPts val="15"/>
              </a:spcBef>
              <a:buFont typeface="Arial"/>
              <a:buChar char="•"/>
              <a:tabLst>
                <a:tab pos="207645" algn="l"/>
              </a:tabLst>
            </a:pPr>
            <a:r>
              <a:rPr sz="1200" spc="-70">
                <a:latin typeface="Trebuchet MS"/>
                <a:cs typeface="Trebuchet MS"/>
              </a:rPr>
              <a:t>There </a:t>
            </a:r>
            <a:r>
              <a:rPr sz="1200" spc="-65">
                <a:latin typeface="Trebuchet MS"/>
                <a:cs typeface="Trebuchet MS"/>
              </a:rPr>
              <a:t>are </a:t>
            </a:r>
            <a:r>
              <a:rPr sz="1200" spc="-70">
                <a:latin typeface="Trebuchet MS"/>
                <a:cs typeface="Trebuchet MS"/>
              </a:rPr>
              <a:t>five </a:t>
            </a:r>
            <a:r>
              <a:rPr sz="1200" spc="-55">
                <a:latin typeface="Trebuchet MS"/>
                <a:cs typeface="Trebuchet MS"/>
              </a:rPr>
              <a:t>important </a:t>
            </a:r>
            <a:r>
              <a:rPr sz="1200" spc="-50">
                <a:latin typeface="Trebuchet MS"/>
                <a:cs typeface="Trebuchet MS"/>
              </a:rPr>
              <a:t>steps in </a:t>
            </a:r>
            <a:r>
              <a:rPr sz="1200" spc="-60">
                <a:latin typeface="Trebuchet MS"/>
                <a:cs typeface="Trebuchet MS"/>
              </a:rPr>
              <a:t>a </a:t>
            </a:r>
            <a:r>
              <a:rPr sz="1200" spc="-40">
                <a:latin typeface="Trebuchet MS"/>
                <a:cs typeface="Trebuchet MS"/>
              </a:rPr>
              <a:t>common </a:t>
            </a:r>
            <a:r>
              <a:rPr sz="1200" spc="30">
                <a:latin typeface="Trebuchet MS"/>
                <a:cs typeface="Trebuchet MS"/>
              </a:rPr>
              <a:t>ML </a:t>
            </a:r>
            <a:r>
              <a:rPr sz="1200" spc="-70">
                <a:latin typeface="Trebuchet MS"/>
                <a:cs typeface="Trebuchet MS"/>
              </a:rPr>
              <a:t>workflow, </a:t>
            </a:r>
            <a:r>
              <a:rPr sz="1200" spc="-65">
                <a:latin typeface="Trebuchet MS"/>
                <a:cs typeface="Trebuchet MS"/>
              </a:rPr>
              <a:t>get </a:t>
            </a:r>
            <a:r>
              <a:rPr sz="1200" spc="-85">
                <a:latin typeface="Trebuchet MS"/>
                <a:cs typeface="Trebuchet MS"/>
              </a:rPr>
              <a:t>data, </a:t>
            </a:r>
            <a:r>
              <a:rPr sz="1200" spc="-80">
                <a:latin typeface="Trebuchet MS"/>
                <a:cs typeface="Trebuchet MS"/>
              </a:rPr>
              <a:t>clean, </a:t>
            </a:r>
            <a:r>
              <a:rPr sz="1200" spc="-60">
                <a:latin typeface="Trebuchet MS"/>
                <a:cs typeface="Trebuchet MS"/>
              </a:rPr>
              <a:t>prepare </a:t>
            </a:r>
            <a:r>
              <a:rPr sz="1200" spc="-45">
                <a:latin typeface="Trebuchet MS"/>
                <a:cs typeface="Trebuchet MS"/>
              </a:rPr>
              <a:t>and  </a:t>
            </a:r>
            <a:r>
              <a:rPr sz="1200" spc="-60">
                <a:latin typeface="Trebuchet MS"/>
                <a:cs typeface="Trebuchet MS"/>
              </a:rPr>
              <a:t>manipulate</a:t>
            </a:r>
            <a:r>
              <a:rPr sz="1200" spc="-85">
                <a:latin typeface="Trebuchet MS"/>
                <a:cs typeface="Trebuchet MS"/>
              </a:rPr>
              <a:t> data, </a:t>
            </a:r>
            <a:r>
              <a:rPr sz="1200" spc="-65">
                <a:latin typeface="Trebuchet MS"/>
                <a:cs typeface="Trebuchet MS"/>
              </a:rPr>
              <a:t>trai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model,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test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model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improve.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Ther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ar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several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tools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that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help</a:t>
            </a:r>
            <a:endParaRPr sz="1200">
              <a:latin typeface="Trebuchet MS"/>
              <a:cs typeface="Trebuchet MS"/>
            </a:endParaRPr>
          </a:p>
          <a:p>
            <a:pPr marL="207010">
              <a:lnSpc>
                <a:spcPts val="1415"/>
              </a:lnSpc>
            </a:pPr>
            <a:r>
              <a:rPr sz="1200" spc="-35">
                <a:latin typeface="Trebuchet MS"/>
                <a:cs typeface="Trebuchet MS"/>
              </a:rPr>
              <a:t>you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i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handling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infrastructur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round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your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30">
                <a:latin typeface="Trebuchet MS"/>
                <a:cs typeface="Trebuchet MS"/>
              </a:rPr>
              <a:t>ML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code.</a:t>
            </a:r>
            <a:endParaRPr sz="1200">
              <a:latin typeface="Trebuchet MS"/>
              <a:cs typeface="Trebuchet MS"/>
            </a:endParaRPr>
          </a:p>
          <a:p>
            <a:pPr marL="207010" indent="-172085">
              <a:lnSpc>
                <a:spcPts val="1415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60">
                <a:latin typeface="Trebuchet MS"/>
                <a:cs typeface="Trebuchet MS"/>
              </a:rPr>
              <a:t>Thi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i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a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larg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topic,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nd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w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ar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only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uching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30">
                <a:latin typeface="Trebuchet MS"/>
                <a:cs typeface="Trebuchet MS"/>
              </a:rPr>
              <a:t>upo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it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i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thi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material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wher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we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are</a:t>
            </a:r>
            <a:endParaRPr sz="1200">
              <a:latin typeface="Trebuchet MS"/>
              <a:cs typeface="Trebuchet MS"/>
            </a:endParaRPr>
          </a:p>
          <a:p>
            <a:pPr marL="207010" marR="126364" algn="just">
              <a:lnSpc>
                <a:spcPct val="97500"/>
              </a:lnSpc>
              <a:spcBef>
                <a:spcPts val="110"/>
              </a:spcBef>
            </a:pPr>
            <a:r>
              <a:rPr sz="1200" spc="-45">
                <a:latin typeface="Trebuchet MS"/>
                <a:cs typeface="Trebuchet MS"/>
              </a:rPr>
              <a:t>looking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at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tools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that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provid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infrastructur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around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35">
                <a:latin typeface="Trebuchet MS"/>
                <a:cs typeface="Trebuchet MS"/>
              </a:rPr>
              <a:t>you</a:t>
            </a:r>
            <a:r>
              <a:rPr lang="nb-NO" sz="1200" spc="-35">
                <a:latin typeface="Trebuchet MS"/>
                <a:cs typeface="Trebuchet MS"/>
              </a:rPr>
              <a:t>r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ML-code,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for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more</a:t>
            </a:r>
            <a:r>
              <a:rPr sz="1200" spc="-7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information  </a:t>
            </a:r>
            <a:r>
              <a:rPr sz="1200" spc="-20">
                <a:latin typeface="Trebuchet MS"/>
                <a:cs typeface="Trebuchet MS"/>
              </a:rPr>
              <a:t>o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30">
                <a:latin typeface="Trebuchet MS"/>
                <a:cs typeface="Trebuchet MS"/>
              </a:rPr>
              <a:t>how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operationaliz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35">
                <a:latin typeface="Trebuchet MS"/>
                <a:cs typeface="Trebuchet MS"/>
              </a:rPr>
              <a:t>you</a:t>
            </a:r>
            <a:r>
              <a:rPr lang="nb-NO" sz="1200" spc="-35">
                <a:latin typeface="Trebuchet MS"/>
                <a:cs typeface="Trebuchet MS"/>
              </a:rPr>
              <a:t>r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30">
                <a:latin typeface="Trebuchet MS"/>
                <a:cs typeface="Trebuchet MS"/>
              </a:rPr>
              <a:t>ML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code</a:t>
            </a:r>
            <a:r>
              <a:rPr lang="nb-NO" sz="1200" spc="-55">
                <a:latin typeface="Trebuchet MS"/>
                <a:cs typeface="Trebuchet MS"/>
              </a:rPr>
              <a:t>,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see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30">
                <a:latin typeface="Trebuchet MS"/>
                <a:cs typeface="Trebuchet MS"/>
              </a:rPr>
              <a:t>our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10">
                <a:latin typeface="Trebuchet MS"/>
                <a:cs typeface="Trebuchet MS"/>
              </a:rPr>
              <a:t>MLOps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framework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155">
                <a:latin typeface="Trebuchet MS"/>
                <a:cs typeface="Trebuchet MS"/>
              </a:rPr>
              <a:t>–</a:t>
            </a:r>
            <a:r>
              <a:rPr sz="1200" spc="-80">
                <a:latin typeface="Trebuchet MS"/>
                <a:cs typeface="Trebuchet MS"/>
              </a:rPr>
              <a:t> </a:t>
            </a:r>
            <a:r>
              <a:rPr sz="1200" spc="-20">
                <a:latin typeface="Trebuchet MS"/>
                <a:cs typeface="Trebuchet MS"/>
              </a:rPr>
              <a:t>A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introductio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  </a:t>
            </a:r>
            <a:r>
              <a:rPr sz="1200" spc="-10">
                <a:latin typeface="Trebuchet MS"/>
                <a:cs typeface="Trebuchet MS"/>
              </a:rPr>
              <a:t>MLOps </a:t>
            </a:r>
            <a:r>
              <a:rPr sz="1200" spc="-55">
                <a:latin typeface="Trebuchet MS"/>
                <a:cs typeface="Trebuchet MS"/>
              </a:rPr>
              <a:t>by</a:t>
            </a:r>
            <a:r>
              <a:rPr sz="1200" spc="-17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BearingPoint.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146351" y="3942003"/>
            <a:ext cx="3341370" cy="2394585"/>
          </a:xfrm>
          <a:prstGeom prst="rect">
            <a:avLst/>
          </a:prstGeom>
          <a:solidFill>
            <a:srgbClr val="E8E8E8"/>
          </a:solidFill>
        </p:spPr>
        <p:txBody>
          <a:bodyPr vert="horz" wrap="square" lIns="0" tIns="24130" rIns="0" bIns="0" rtlCol="0">
            <a:spAutoFit/>
          </a:bodyPr>
          <a:lstStyle/>
          <a:p>
            <a:pPr marL="35560">
              <a:lnSpc>
                <a:spcPts val="1905"/>
              </a:lnSpc>
              <a:spcBef>
                <a:spcPts val="190"/>
              </a:spcBef>
            </a:pPr>
            <a:r>
              <a:rPr sz="1600" b="1" spc="-95">
                <a:solidFill>
                  <a:srgbClr val="6C03A8"/>
                </a:solidFill>
                <a:latin typeface="Trebuchet MS"/>
                <a:cs typeface="Trebuchet MS"/>
              </a:rPr>
              <a:t>Other</a:t>
            </a:r>
            <a:r>
              <a:rPr sz="1600" b="1" spc="-12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70">
                <a:solidFill>
                  <a:srgbClr val="6C03A8"/>
                </a:solidFill>
                <a:latin typeface="Trebuchet MS"/>
                <a:cs typeface="Trebuchet MS"/>
              </a:rPr>
              <a:t>options</a:t>
            </a:r>
            <a:endParaRPr sz="1600">
              <a:latin typeface="Trebuchet MS"/>
              <a:cs typeface="Trebuchet MS"/>
            </a:endParaRPr>
          </a:p>
          <a:p>
            <a:pPr marL="321310" indent="-286385">
              <a:lnSpc>
                <a:spcPts val="1425"/>
              </a:lnSpc>
              <a:buFont typeface="Arial"/>
              <a:buChar char="•"/>
              <a:tabLst>
                <a:tab pos="321310" algn="l"/>
                <a:tab pos="321945" algn="l"/>
              </a:tabLst>
            </a:pPr>
            <a:r>
              <a:rPr sz="1200" spc="-65">
                <a:latin typeface="Trebuchet MS"/>
                <a:cs typeface="Trebuchet MS"/>
              </a:rPr>
              <a:t>Self-deploy </a:t>
            </a:r>
            <a:r>
              <a:rPr sz="1200" spc="-20">
                <a:latin typeface="Trebuchet MS"/>
                <a:cs typeface="Trebuchet MS"/>
              </a:rPr>
              <a:t>on </a:t>
            </a:r>
            <a:r>
              <a:rPr sz="1200" spc="-60">
                <a:latin typeface="Trebuchet MS"/>
                <a:cs typeface="Trebuchet MS"/>
              </a:rPr>
              <a:t>PaaS</a:t>
            </a:r>
            <a:r>
              <a:rPr sz="1200" spc="-195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(Kubernetes/ECS)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23887" y="3942003"/>
            <a:ext cx="3341370" cy="2394585"/>
          </a:xfrm>
          <a:prstGeom prst="rect">
            <a:avLst/>
          </a:prstGeom>
          <a:solidFill>
            <a:srgbClr val="E8E8E8"/>
          </a:solidFill>
        </p:spPr>
        <p:txBody>
          <a:bodyPr vert="horz" wrap="square" lIns="0" tIns="24130" rIns="0" bIns="0" rtlCol="0">
            <a:spAutoFit/>
          </a:bodyPr>
          <a:lstStyle/>
          <a:p>
            <a:pPr marL="35560">
              <a:lnSpc>
                <a:spcPts val="1905"/>
              </a:lnSpc>
              <a:spcBef>
                <a:spcPts val="190"/>
              </a:spcBef>
            </a:pPr>
            <a:r>
              <a:rPr sz="1600" b="1" spc="-85">
                <a:solidFill>
                  <a:srgbClr val="6C03A8"/>
                </a:solidFill>
                <a:latin typeface="Trebuchet MS"/>
                <a:cs typeface="Trebuchet MS"/>
              </a:rPr>
              <a:t>Cloud</a:t>
            </a:r>
            <a:r>
              <a:rPr sz="1600" b="1" spc="-12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95">
                <a:solidFill>
                  <a:srgbClr val="6C03A8"/>
                </a:solidFill>
                <a:latin typeface="Trebuchet MS"/>
                <a:cs typeface="Trebuchet MS"/>
              </a:rPr>
              <a:t>native</a:t>
            </a:r>
            <a:endParaRPr sz="1600">
              <a:latin typeface="Trebuchet MS"/>
              <a:cs typeface="Trebuchet MS"/>
            </a:endParaRPr>
          </a:p>
          <a:p>
            <a:pPr marL="207010" indent="-172085">
              <a:lnSpc>
                <a:spcPts val="1425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50">
                <a:latin typeface="Trebuchet MS"/>
                <a:cs typeface="Trebuchet MS"/>
              </a:rPr>
              <a:t>Serverless </a:t>
            </a:r>
            <a:r>
              <a:rPr sz="1200" spc="-55">
                <a:latin typeface="Trebuchet MS"/>
                <a:cs typeface="Trebuchet MS"/>
              </a:rPr>
              <a:t>compute </a:t>
            </a:r>
            <a:r>
              <a:rPr sz="1200" spc="-50">
                <a:latin typeface="Trebuchet MS"/>
                <a:cs typeface="Trebuchet MS"/>
              </a:rPr>
              <a:t>services </a:t>
            </a:r>
            <a:r>
              <a:rPr sz="1200" spc="-65">
                <a:latin typeface="Trebuchet MS"/>
                <a:cs typeface="Trebuchet MS"/>
              </a:rPr>
              <a:t>that</a:t>
            </a:r>
            <a:r>
              <a:rPr sz="1200" spc="-204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provides</a:t>
            </a:r>
            <a:endParaRPr sz="1200">
              <a:latin typeface="Trebuchet MS"/>
              <a:cs typeface="Trebuchet MS"/>
            </a:endParaRPr>
          </a:p>
          <a:p>
            <a:pPr marL="207010" marR="413384">
              <a:lnSpc>
                <a:spcPts val="1390"/>
              </a:lnSpc>
              <a:spcBef>
                <a:spcPts val="160"/>
              </a:spcBef>
            </a:pPr>
            <a:r>
              <a:rPr sz="1200" spc="-60">
                <a:latin typeface="Trebuchet MS"/>
                <a:cs typeface="Trebuchet MS"/>
              </a:rPr>
              <a:t>updated </a:t>
            </a:r>
            <a:r>
              <a:rPr sz="1200" spc="-65">
                <a:latin typeface="Trebuchet MS"/>
                <a:cs typeface="Trebuchet MS"/>
              </a:rPr>
              <a:t>infrastructure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75">
                <a:latin typeface="Trebuchet MS"/>
                <a:cs typeface="Trebuchet MS"/>
              </a:rPr>
              <a:t>all </a:t>
            </a:r>
            <a:r>
              <a:rPr sz="1200" spc="-60">
                <a:latin typeface="Trebuchet MS"/>
                <a:cs typeface="Trebuchet MS"/>
              </a:rPr>
              <a:t>the </a:t>
            </a:r>
            <a:r>
              <a:rPr sz="1200" spc="-50">
                <a:latin typeface="Trebuchet MS"/>
                <a:cs typeface="Trebuchet MS"/>
              </a:rPr>
              <a:t>resources  needed to </a:t>
            </a:r>
            <a:r>
              <a:rPr sz="1200" spc="-40">
                <a:latin typeface="Trebuchet MS"/>
                <a:cs typeface="Trebuchet MS"/>
              </a:rPr>
              <a:t>run </a:t>
            </a:r>
            <a:r>
              <a:rPr sz="1200" spc="-45">
                <a:latin typeface="Trebuchet MS"/>
                <a:cs typeface="Trebuchet MS"/>
              </a:rPr>
              <a:t>your</a:t>
            </a:r>
            <a:r>
              <a:rPr sz="1200" spc="-240">
                <a:latin typeface="Trebuchet MS"/>
                <a:cs typeface="Trebuchet MS"/>
              </a:rPr>
              <a:t> </a:t>
            </a:r>
            <a:r>
              <a:rPr sz="1200" spc="-70">
                <a:latin typeface="Trebuchet MS"/>
                <a:cs typeface="Trebuchet MS"/>
              </a:rPr>
              <a:t>application.</a:t>
            </a:r>
            <a:endParaRPr sz="1200">
              <a:latin typeface="Trebuchet MS"/>
              <a:cs typeface="Trebuchet MS"/>
            </a:endParaRPr>
          </a:p>
          <a:p>
            <a:pPr marL="207010" marR="61594" indent="-171450">
              <a:lnSpc>
                <a:spcPts val="1420"/>
              </a:lnSpc>
              <a:spcBef>
                <a:spcPts val="75"/>
              </a:spcBef>
              <a:buFont typeface="Arial"/>
              <a:buChar char="•"/>
              <a:tabLst>
                <a:tab pos="207645" algn="l"/>
              </a:tabLst>
            </a:pPr>
            <a:r>
              <a:rPr sz="1200" spc="-80">
                <a:latin typeface="Trebuchet MS"/>
                <a:cs typeface="Trebuchet MS"/>
              </a:rPr>
              <a:t>You </a:t>
            </a:r>
            <a:r>
              <a:rPr sz="1200" spc="-65">
                <a:latin typeface="Trebuchet MS"/>
                <a:cs typeface="Trebuchet MS"/>
              </a:rPr>
              <a:t>write </a:t>
            </a:r>
            <a:r>
              <a:rPr sz="1200" spc="-60">
                <a:latin typeface="Trebuchet MS"/>
                <a:cs typeface="Trebuchet MS"/>
              </a:rPr>
              <a:t>the (model) </a:t>
            </a:r>
            <a:r>
              <a:rPr sz="1200" spc="-55">
                <a:latin typeface="Trebuchet MS"/>
                <a:cs typeface="Trebuchet MS"/>
              </a:rPr>
              <a:t>code </a:t>
            </a:r>
            <a:r>
              <a:rPr sz="1200" spc="-75">
                <a:latin typeface="Trebuchet MS"/>
                <a:cs typeface="Trebuchet MS"/>
              </a:rPr>
              <a:t>yourself, </a:t>
            </a:r>
            <a:r>
              <a:rPr sz="1200" spc="-45">
                <a:latin typeface="Trebuchet MS"/>
                <a:cs typeface="Trebuchet MS"/>
              </a:rPr>
              <a:t>and </a:t>
            </a:r>
            <a:r>
              <a:rPr sz="1200" spc="-50">
                <a:latin typeface="Trebuchet MS"/>
                <a:cs typeface="Trebuchet MS"/>
              </a:rPr>
              <a:t>then</a:t>
            </a:r>
            <a:r>
              <a:rPr sz="1200" spc="-26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the  </a:t>
            </a:r>
            <a:r>
              <a:rPr sz="1200" spc="-55">
                <a:latin typeface="Trebuchet MS"/>
                <a:cs typeface="Trebuchet MS"/>
              </a:rPr>
              <a:t>service </a:t>
            </a:r>
            <a:r>
              <a:rPr sz="1200" spc="-50">
                <a:latin typeface="Trebuchet MS"/>
                <a:cs typeface="Trebuchet MS"/>
              </a:rPr>
              <a:t>handles </a:t>
            </a:r>
            <a:r>
              <a:rPr sz="1200" spc="-60">
                <a:latin typeface="Trebuchet MS"/>
                <a:cs typeface="Trebuchet MS"/>
              </a:rPr>
              <a:t>the</a:t>
            </a:r>
            <a:r>
              <a:rPr sz="1200" spc="-155">
                <a:latin typeface="Trebuchet MS"/>
                <a:cs typeface="Trebuchet MS"/>
              </a:rPr>
              <a:t> </a:t>
            </a:r>
            <a:r>
              <a:rPr sz="1200" spc="-75">
                <a:latin typeface="Trebuchet MS"/>
                <a:cs typeface="Trebuchet MS"/>
              </a:rPr>
              <a:t>rest.</a:t>
            </a:r>
            <a:endParaRPr sz="12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5"/>
              </a:spcBef>
              <a:buFont typeface="Arial"/>
              <a:buChar char="•"/>
            </a:pPr>
            <a:endParaRPr sz="1200">
              <a:latin typeface="Trebuchet MS"/>
              <a:cs typeface="Trebuchet MS"/>
            </a:endParaRPr>
          </a:p>
          <a:p>
            <a:pPr marL="35560">
              <a:lnSpc>
                <a:spcPts val="1415"/>
              </a:lnSpc>
            </a:pPr>
            <a:r>
              <a:rPr sz="1200" spc="-75">
                <a:latin typeface="Trebuchet MS"/>
                <a:cs typeface="Trebuchet MS"/>
              </a:rPr>
              <a:t>Tools:</a:t>
            </a:r>
            <a:endParaRPr sz="1200">
              <a:latin typeface="Trebuchet MS"/>
              <a:cs typeface="Trebuchet MS"/>
            </a:endParaRPr>
          </a:p>
          <a:p>
            <a:pPr marL="207010" indent="-172085">
              <a:lnSpc>
                <a:spcPts val="1415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60">
                <a:latin typeface="Trebuchet MS"/>
                <a:cs typeface="Trebuchet MS"/>
              </a:rPr>
              <a:t>Azure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Functions</a:t>
            </a:r>
            <a:endParaRPr sz="1200">
              <a:latin typeface="Trebuchet MS"/>
              <a:cs typeface="Trebuchet MS"/>
            </a:endParaRPr>
          </a:p>
          <a:p>
            <a:pPr marL="207010" indent="-172085">
              <a:lnSpc>
                <a:spcPct val="100000"/>
              </a:lnSpc>
              <a:spcBef>
                <a:spcPts val="50"/>
              </a:spcBef>
              <a:buFont typeface="Arial"/>
              <a:buChar char="•"/>
              <a:tabLst>
                <a:tab pos="207645" algn="l"/>
              </a:tabLst>
            </a:pPr>
            <a:r>
              <a:rPr sz="1200" spc="-20">
                <a:latin typeface="Trebuchet MS"/>
                <a:cs typeface="Trebuchet MS"/>
              </a:rPr>
              <a:t>AWS </a:t>
            </a:r>
            <a:r>
              <a:rPr sz="1200" spc="-60">
                <a:latin typeface="Trebuchet MS"/>
                <a:cs typeface="Trebuchet MS"/>
              </a:rPr>
              <a:t>Lambda</a:t>
            </a:r>
            <a:r>
              <a:rPr sz="1200" spc="-16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Function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385170" y="3942003"/>
            <a:ext cx="3341370" cy="2394585"/>
          </a:xfrm>
          <a:custGeom>
            <a:avLst/>
            <a:gdLst/>
            <a:ahLst/>
            <a:cxnLst/>
            <a:rect l="l" t="t" r="r" b="b"/>
            <a:pathLst>
              <a:path w="3341370" h="2394585">
                <a:moveTo>
                  <a:pt x="3340798" y="0"/>
                </a:moveTo>
                <a:lnTo>
                  <a:pt x="0" y="0"/>
                </a:lnTo>
                <a:lnTo>
                  <a:pt x="0" y="2393995"/>
                </a:lnTo>
                <a:lnTo>
                  <a:pt x="3340798" y="2393995"/>
                </a:lnTo>
                <a:lnTo>
                  <a:pt x="3340798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385170" y="3942003"/>
            <a:ext cx="3341370" cy="1178528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5560">
              <a:lnSpc>
                <a:spcPts val="1905"/>
              </a:lnSpc>
              <a:spcBef>
                <a:spcPts val="190"/>
              </a:spcBef>
            </a:pPr>
            <a:r>
              <a:rPr sz="1600" b="1" spc="-90">
                <a:solidFill>
                  <a:srgbClr val="6C03A8"/>
                </a:solidFill>
                <a:latin typeface="Trebuchet MS"/>
                <a:cs typeface="Trebuchet MS"/>
              </a:rPr>
              <a:t>(Databricks </a:t>
            </a:r>
            <a:r>
              <a:rPr sz="1600" b="1" spc="-114">
                <a:solidFill>
                  <a:srgbClr val="6C03A8"/>
                </a:solidFill>
                <a:latin typeface="Trebuchet MS"/>
                <a:cs typeface="Trebuchet MS"/>
              </a:rPr>
              <a:t>+)</a:t>
            </a:r>
            <a:r>
              <a:rPr sz="1600" b="1" spc="-16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600" b="1" spc="-75">
                <a:solidFill>
                  <a:srgbClr val="6C03A8"/>
                </a:solidFill>
                <a:latin typeface="Trebuchet MS"/>
                <a:cs typeface="Trebuchet MS"/>
              </a:rPr>
              <a:t>mlflow</a:t>
            </a:r>
            <a:endParaRPr sz="1600">
              <a:latin typeface="Trebuchet MS"/>
              <a:cs typeface="Trebuchet MS"/>
            </a:endParaRPr>
          </a:p>
          <a:p>
            <a:pPr marL="207010" indent="-172085">
              <a:lnSpc>
                <a:spcPts val="1425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60">
                <a:latin typeface="Trebuchet MS"/>
                <a:cs typeface="Trebuchet MS"/>
              </a:rPr>
              <a:t>mlflow </a:t>
            </a:r>
            <a:r>
              <a:rPr sz="1200" spc="-40">
                <a:latin typeface="Trebuchet MS"/>
                <a:cs typeface="Trebuchet MS"/>
              </a:rPr>
              <a:t>open</a:t>
            </a:r>
            <a:r>
              <a:rPr sz="1200" spc="-285">
                <a:latin typeface="Trebuchet MS"/>
                <a:cs typeface="Trebuchet MS"/>
              </a:rPr>
              <a:t> </a:t>
            </a:r>
            <a:r>
              <a:rPr lang="nb-NO" sz="1200" spc="-2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source </a:t>
            </a:r>
            <a:r>
              <a:rPr sz="1200" spc="-65">
                <a:latin typeface="Trebuchet MS"/>
                <a:cs typeface="Trebuchet MS"/>
              </a:rPr>
              <a:t>platform </a:t>
            </a:r>
            <a:r>
              <a:rPr sz="1200" spc="-50">
                <a:latin typeface="Trebuchet MS"/>
                <a:cs typeface="Trebuchet MS"/>
              </a:rPr>
              <a:t>to manage </a:t>
            </a:r>
            <a:r>
              <a:rPr sz="1200" spc="-60">
                <a:latin typeface="Trebuchet MS"/>
                <a:cs typeface="Trebuchet MS"/>
              </a:rPr>
              <a:t>the </a:t>
            </a:r>
            <a:r>
              <a:rPr sz="1200" spc="30">
                <a:latin typeface="Trebuchet MS"/>
                <a:cs typeface="Trebuchet MS"/>
              </a:rPr>
              <a:t>ML</a:t>
            </a:r>
            <a:endParaRPr sz="1200">
              <a:latin typeface="Trebuchet MS"/>
              <a:cs typeface="Trebuchet MS"/>
            </a:endParaRPr>
          </a:p>
          <a:p>
            <a:pPr marL="207010">
              <a:lnSpc>
                <a:spcPts val="1415"/>
              </a:lnSpc>
              <a:spcBef>
                <a:spcPts val="75"/>
              </a:spcBef>
            </a:pPr>
            <a:r>
              <a:rPr sz="1200" spc="-80">
                <a:latin typeface="Trebuchet MS"/>
                <a:cs typeface="Trebuchet MS"/>
              </a:rPr>
              <a:t>lifecycle</a:t>
            </a:r>
            <a:endParaRPr sz="1200">
              <a:latin typeface="Trebuchet MS"/>
              <a:cs typeface="Trebuchet MS"/>
            </a:endParaRPr>
          </a:p>
          <a:p>
            <a:pPr marL="207010" indent="-172085">
              <a:lnSpc>
                <a:spcPts val="1415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40">
                <a:latin typeface="Trebuchet MS"/>
                <a:cs typeface="Trebuchet MS"/>
              </a:rPr>
              <a:t>Designed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to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work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with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any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30">
                <a:latin typeface="Trebuchet MS"/>
                <a:cs typeface="Trebuchet MS"/>
              </a:rPr>
              <a:t>ML</a:t>
            </a:r>
            <a:r>
              <a:rPr sz="1200" spc="-100">
                <a:latin typeface="Trebuchet MS"/>
                <a:cs typeface="Trebuchet MS"/>
              </a:rPr>
              <a:t> </a:t>
            </a:r>
            <a:r>
              <a:rPr sz="1200" spc="-85">
                <a:latin typeface="Trebuchet MS"/>
                <a:cs typeface="Trebuchet MS"/>
              </a:rPr>
              <a:t>library,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5">
                <a:latin typeface="Trebuchet MS"/>
                <a:cs typeface="Trebuchet MS"/>
              </a:rPr>
              <a:t>algorithm,</a:t>
            </a:r>
            <a:endParaRPr sz="1200">
              <a:latin typeface="Trebuchet MS"/>
              <a:cs typeface="Trebuchet MS"/>
            </a:endParaRPr>
          </a:p>
          <a:p>
            <a:pPr marL="207010">
              <a:lnSpc>
                <a:spcPts val="1430"/>
              </a:lnSpc>
              <a:spcBef>
                <a:spcPts val="45"/>
              </a:spcBef>
            </a:pPr>
            <a:r>
              <a:rPr sz="1200" spc="-55">
                <a:latin typeface="Trebuchet MS"/>
                <a:cs typeface="Trebuchet MS"/>
              </a:rPr>
              <a:t>deployment </a:t>
            </a:r>
            <a:r>
              <a:rPr sz="1200" spc="-45">
                <a:latin typeface="Trebuchet MS"/>
                <a:cs typeface="Trebuchet MS"/>
              </a:rPr>
              <a:t>tool </a:t>
            </a:r>
            <a:r>
              <a:rPr sz="1200" spc="-30">
                <a:latin typeface="Trebuchet MS"/>
                <a:cs typeface="Trebuchet MS"/>
              </a:rPr>
              <a:t>or</a:t>
            </a:r>
            <a:r>
              <a:rPr sz="1200" spc="-180">
                <a:latin typeface="Trebuchet MS"/>
                <a:cs typeface="Trebuchet MS"/>
              </a:rPr>
              <a:t> </a:t>
            </a:r>
            <a:r>
              <a:rPr sz="1200" spc="-55">
                <a:latin typeface="Trebuchet MS"/>
                <a:cs typeface="Trebuchet MS"/>
              </a:rPr>
              <a:t>language</a:t>
            </a:r>
            <a:endParaRPr sz="1200">
              <a:latin typeface="Trebuchet MS"/>
              <a:cs typeface="Trebuchet MS"/>
            </a:endParaRPr>
          </a:p>
          <a:p>
            <a:pPr marL="207010" indent="-172085">
              <a:lnSpc>
                <a:spcPts val="1430"/>
              </a:lnSpc>
              <a:buFont typeface="Arial"/>
              <a:buChar char="•"/>
              <a:tabLst>
                <a:tab pos="207645" algn="l"/>
              </a:tabLst>
            </a:pPr>
            <a:r>
              <a:rPr sz="1200" spc="-55">
                <a:latin typeface="Trebuchet MS"/>
                <a:cs typeface="Trebuchet MS"/>
              </a:rPr>
              <a:t>Ca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40">
                <a:latin typeface="Trebuchet MS"/>
                <a:cs typeface="Trebuchet MS"/>
              </a:rPr>
              <a:t>ru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a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hosted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50">
                <a:latin typeface="Trebuchet MS"/>
                <a:cs typeface="Trebuchet MS"/>
              </a:rPr>
              <a:t>version</a:t>
            </a:r>
            <a:r>
              <a:rPr sz="1200" spc="-95">
                <a:latin typeface="Trebuchet MS"/>
                <a:cs typeface="Trebuchet MS"/>
              </a:rPr>
              <a:t> </a:t>
            </a:r>
            <a:r>
              <a:rPr sz="1200" spc="-45">
                <a:latin typeface="Trebuchet MS"/>
                <a:cs typeface="Trebuchet MS"/>
              </a:rPr>
              <a:t>of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mlflow</a:t>
            </a:r>
            <a:r>
              <a:rPr sz="1200" spc="-85">
                <a:latin typeface="Trebuchet MS"/>
                <a:cs typeface="Trebuchet MS"/>
              </a:rPr>
              <a:t> </a:t>
            </a:r>
            <a:r>
              <a:rPr sz="1200" spc="-20">
                <a:latin typeface="Trebuchet MS"/>
                <a:cs typeface="Trebuchet MS"/>
              </a:rPr>
              <a:t>on</a:t>
            </a:r>
            <a:r>
              <a:rPr sz="1200" spc="-90">
                <a:latin typeface="Trebuchet MS"/>
                <a:cs typeface="Trebuchet MS"/>
              </a:rPr>
              <a:t> </a:t>
            </a:r>
            <a:r>
              <a:rPr sz="1200" spc="-60">
                <a:latin typeface="Trebuchet MS"/>
                <a:cs typeface="Trebuchet MS"/>
              </a:rPr>
              <a:t>Databricks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664098" y="5761485"/>
            <a:ext cx="782934" cy="4440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4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19125" y="1827377"/>
            <a:ext cx="1131570" cy="3853815"/>
            <a:chOff x="619125" y="1827377"/>
            <a:chExt cx="1131570" cy="3853815"/>
          </a:xfrm>
        </p:grpSpPr>
        <p:sp>
          <p:nvSpPr>
            <p:cNvPr id="3" name="object 3"/>
            <p:cNvSpPr/>
            <p:nvPr/>
          </p:nvSpPr>
          <p:spPr>
            <a:xfrm>
              <a:off x="623887" y="1952180"/>
              <a:ext cx="1122045" cy="3724275"/>
            </a:xfrm>
            <a:custGeom>
              <a:avLst/>
              <a:gdLst/>
              <a:ahLst/>
              <a:cxnLst/>
              <a:rect l="l" t="t" r="r" b="b"/>
              <a:pathLst>
                <a:path w="1122045" h="3724275">
                  <a:moveTo>
                    <a:pt x="0" y="0"/>
                  </a:moveTo>
                  <a:lnTo>
                    <a:pt x="1121880" y="0"/>
                  </a:lnTo>
                  <a:lnTo>
                    <a:pt x="11218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772134" y="1827377"/>
              <a:ext cx="727710" cy="252729"/>
            </a:xfrm>
            <a:custGeom>
              <a:avLst/>
              <a:gdLst/>
              <a:ahLst/>
              <a:cxnLst/>
              <a:rect l="l" t="t" r="r" b="b"/>
              <a:pathLst>
                <a:path w="727710" h="252730">
                  <a:moveTo>
                    <a:pt x="727392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727392" y="252298"/>
                  </a:lnTo>
                  <a:lnTo>
                    <a:pt x="727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950890" y="1838451"/>
            <a:ext cx="3714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ou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90">
                <a:solidFill>
                  <a:srgbClr val="6C03A8"/>
                </a:solidFill>
                <a:latin typeface="Trebuchet MS"/>
                <a:cs typeface="Trebuchet MS"/>
              </a:rPr>
              <a:t>c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186330" y="3455492"/>
            <a:ext cx="2513965" cy="2225675"/>
            <a:chOff x="2186330" y="3455492"/>
            <a:chExt cx="2513965" cy="2225675"/>
          </a:xfrm>
        </p:grpSpPr>
        <p:sp>
          <p:nvSpPr>
            <p:cNvPr id="7" name="object 7"/>
            <p:cNvSpPr/>
            <p:nvPr/>
          </p:nvSpPr>
          <p:spPr>
            <a:xfrm>
              <a:off x="2191092" y="3555174"/>
              <a:ext cx="2504440" cy="2121535"/>
            </a:xfrm>
            <a:custGeom>
              <a:avLst/>
              <a:gdLst/>
              <a:ahLst/>
              <a:cxnLst/>
              <a:rect l="l" t="t" r="r" b="b"/>
              <a:pathLst>
                <a:path w="2504440" h="2121535">
                  <a:moveTo>
                    <a:pt x="0" y="0"/>
                  </a:moveTo>
                  <a:lnTo>
                    <a:pt x="2504261" y="0"/>
                  </a:lnTo>
                  <a:lnTo>
                    <a:pt x="2504261" y="2120951"/>
                  </a:lnTo>
                  <a:lnTo>
                    <a:pt x="0" y="212095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967583" y="3455492"/>
              <a:ext cx="943610" cy="252729"/>
            </a:xfrm>
            <a:custGeom>
              <a:avLst/>
              <a:gdLst/>
              <a:ahLst/>
              <a:cxnLst/>
              <a:rect l="l" t="t" r="r" b="b"/>
              <a:pathLst>
                <a:path w="943610" h="252729">
                  <a:moveTo>
                    <a:pt x="943457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943457" y="252298"/>
                  </a:lnTo>
                  <a:lnTo>
                    <a:pt x="9434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117850" y="3466084"/>
            <a:ext cx="64516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Batch</a:t>
            </a:r>
            <a:r>
              <a:rPr sz="1000" spc="-13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ingest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2186381" y="1855419"/>
            <a:ext cx="2513965" cy="1444625"/>
            <a:chOff x="2186381" y="1855419"/>
            <a:chExt cx="2513965" cy="1444625"/>
          </a:xfrm>
        </p:grpSpPr>
        <p:sp>
          <p:nvSpPr>
            <p:cNvPr id="11" name="object 11"/>
            <p:cNvSpPr/>
            <p:nvPr/>
          </p:nvSpPr>
          <p:spPr>
            <a:xfrm>
              <a:off x="2191143" y="1980247"/>
              <a:ext cx="2504440" cy="1314450"/>
            </a:xfrm>
            <a:custGeom>
              <a:avLst/>
              <a:gdLst/>
              <a:ahLst/>
              <a:cxnLst/>
              <a:rect l="l" t="t" r="r" b="b"/>
              <a:pathLst>
                <a:path w="2504440" h="1314450">
                  <a:moveTo>
                    <a:pt x="0" y="0"/>
                  </a:moveTo>
                  <a:lnTo>
                    <a:pt x="2504261" y="0"/>
                  </a:lnTo>
                  <a:lnTo>
                    <a:pt x="2504261" y="1314410"/>
                  </a:lnTo>
                  <a:lnTo>
                    <a:pt x="0" y="13144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871203" y="1855419"/>
              <a:ext cx="1206500" cy="252729"/>
            </a:xfrm>
            <a:custGeom>
              <a:avLst/>
              <a:gdLst/>
              <a:ahLst/>
              <a:cxnLst/>
              <a:rect l="l" t="t" r="r" b="b"/>
              <a:pathLst>
                <a:path w="1206500" h="252730">
                  <a:moveTo>
                    <a:pt x="1205979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1205979" y="252298"/>
                  </a:lnTo>
                  <a:lnTo>
                    <a:pt x="12059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3048749" y="1865883"/>
            <a:ext cx="85216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Event</a:t>
            </a:r>
            <a:r>
              <a:rPr sz="1000" spc="-12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Stream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8932074" y="1814512"/>
            <a:ext cx="1082040" cy="1653539"/>
            <a:chOff x="8932074" y="1814512"/>
            <a:chExt cx="1082040" cy="1653539"/>
          </a:xfrm>
        </p:grpSpPr>
        <p:sp>
          <p:nvSpPr>
            <p:cNvPr id="15" name="object 15"/>
            <p:cNvSpPr/>
            <p:nvPr/>
          </p:nvSpPr>
          <p:spPr>
            <a:xfrm>
              <a:off x="8936837" y="1994433"/>
              <a:ext cx="1072515" cy="1469390"/>
            </a:xfrm>
            <a:custGeom>
              <a:avLst/>
              <a:gdLst/>
              <a:ahLst/>
              <a:cxnLst/>
              <a:rect l="l" t="t" r="r" b="b"/>
              <a:pathLst>
                <a:path w="1072515" h="1469389">
                  <a:moveTo>
                    <a:pt x="0" y="0"/>
                  </a:moveTo>
                  <a:lnTo>
                    <a:pt x="1071910" y="0"/>
                  </a:lnTo>
                  <a:lnTo>
                    <a:pt x="1071910" y="1468770"/>
                  </a:lnTo>
                  <a:lnTo>
                    <a:pt x="0" y="146877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9027845" y="1814512"/>
              <a:ext cx="890269" cy="421005"/>
            </a:xfrm>
            <a:custGeom>
              <a:avLst/>
              <a:gdLst/>
              <a:ahLst/>
              <a:cxnLst/>
              <a:rect l="l" t="t" r="r" b="b"/>
              <a:pathLst>
                <a:path w="890270" h="421005">
                  <a:moveTo>
                    <a:pt x="889888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889888" y="420535"/>
                  </a:lnTo>
                  <a:lnTo>
                    <a:pt x="8898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160853" y="1826259"/>
            <a:ext cx="62484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985" marR="5080" indent="-12192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Op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l  </a:t>
            </a: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system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19126" y="5748863"/>
            <a:ext cx="9394825" cy="630555"/>
            <a:chOff x="619126" y="5748863"/>
            <a:chExt cx="9394825" cy="630555"/>
          </a:xfrm>
        </p:grpSpPr>
        <p:sp>
          <p:nvSpPr>
            <p:cNvPr id="19" name="object 19"/>
            <p:cNvSpPr/>
            <p:nvPr/>
          </p:nvSpPr>
          <p:spPr>
            <a:xfrm>
              <a:off x="623888" y="5889763"/>
              <a:ext cx="9385300" cy="485140"/>
            </a:xfrm>
            <a:custGeom>
              <a:avLst/>
              <a:gdLst/>
              <a:ahLst/>
              <a:cxnLst/>
              <a:rect l="l" t="t" r="r" b="b"/>
              <a:pathLst>
                <a:path w="9385300" h="485139">
                  <a:moveTo>
                    <a:pt x="0" y="0"/>
                  </a:moveTo>
                  <a:lnTo>
                    <a:pt x="9384865" y="0"/>
                  </a:lnTo>
                  <a:lnTo>
                    <a:pt x="938486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35159" y="5748863"/>
              <a:ext cx="784225" cy="252729"/>
            </a:xfrm>
            <a:custGeom>
              <a:avLst/>
              <a:gdLst/>
              <a:ahLst/>
              <a:cxnLst/>
              <a:rect l="l" t="t" r="r" b="b"/>
              <a:pathLst>
                <a:path w="784225" h="252729">
                  <a:moveTo>
                    <a:pt x="783633" y="0"/>
                  </a:moveTo>
                  <a:lnTo>
                    <a:pt x="0" y="0"/>
                  </a:lnTo>
                  <a:lnTo>
                    <a:pt x="0" y="252307"/>
                  </a:lnTo>
                  <a:lnTo>
                    <a:pt x="783633" y="252307"/>
                  </a:lnTo>
                  <a:lnTo>
                    <a:pt x="7836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919015" y="5761227"/>
            <a:ext cx="4165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v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p</a:t>
            </a:r>
            <a:r>
              <a:rPr sz="1000" spc="-1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8904960" y="3541738"/>
            <a:ext cx="1115060" cy="2185035"/>
            <a:chOff x="8904960" y="3541738"/>
            <a:chExt cx="1115060" cy="2185035"/>
          </a:xfrm>
        </p:grpSpPr>
        <p:sp>
          <p:nvSpPr>
            <p:cNvPr id="23" name="object 23"/>
            <p:cNvSpPr/>
            <p:nvPr/>
          </p:nvSpPr>
          <p:spPr>
            <a:xfrm>
              <a:off x="8909722" y="3681425"/>
              <a:ext cx="1105535" cy="2040889"/>
            </a:xfrm>
            <a:custGeom>
              <a:avLst/>
              <a:gdLst/>
              <a:ahLst/>
              <a:cxnLst/>
              <a:rect l="l" t="t" r="r" b="b"/>
              <a:pathLst>
                <a:path w="1105534" h="2040889">
                  <a:moveTo>
                    <a:pt x="0" y="0"/>
                  </a:moveTo>
                  <a:lnTo>
                    <a:pt x="1105430" y="0"/>
                  </a:lnTo>
                  <a:lnTo>
                    <a:pt x="1105430" y="2040401"/>
                  </a:lnTo>
                  <a:lnTo>
                    <a:pt x="0" y="204040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976372" y="3541738"/>
              <a:ext cx="958850" cy="421005"/>
            </a:xfrm>
            <a:custGeom>
              <a:avLst/>
              <a:gdLst/>
              <a:ahLst/>
              <a:cxnLst/>
              <a:rect l="l" t="t" r="r" b="b"/>
              <a:pathLst>
                <a:path w="958850" h="421004">
                  <a:moveTo>
                    <a:pt x="958659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958659" y="420535"/>
                  </a:lnTo>
                  <a:lnTo>
                    <a:pt x="9586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9204045" y="3554476"/>
            <a:ext cx="5054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Analytic</a:t>
            </a:r>
            <a:r>
              <a:rPr sz="1000" spc="-14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140">
                <a:solidFill>
                  <a:srgbClr val="6C03A8"/>
                </a:solidFill>
                <a:latin typeface="Trebuchet MS"/>
                <a:cs typeface="Trebuchet MS"/>
              </a:rPr>
              <a:t>/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169946" y="3706876"/>
            <a:ext cx="57340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ashboard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619125" y="987844"/>
            <a:ext cx="9339580" cy="617855"/>
            <a:chOff x="619125" y="987844"/>
            <a:chExt cx="9339580" cy="617855"/>
          </a:xfrm>
        </p:grpSpPr>
        <p:sp>
          <p:nvSpPr>
            <p:cNvPr id="28" name="object 28"/>
            <p:cNvSpPr/>
            <p:nvPr/>
          </p:nvSpPr>
          <p:spPr>
            <a:xfrm>
              <a:off x="623887" y="1116152"/>
              <a:ext cx="9330055" cy="485140"/>
            </a:xfrm>
            <a:custGeom>
              <a:avLst/>
              <a:gdLst/>
              <a:ahLst/>
              <a:cxnLst/>
              <a:rect l="l" t="t" r="r" b="b"/>
              <a:pathLst>
                <a:path w="9330055" h="485140">
                  <a:moveTo>
                    <a:pt x="0" y="0"/>
                  </a:moveTo>
                  <a:lnTo>
                    <a:pt x="9329575" y="0"/>
                  </a:lnTo>
                  <a:lnTo>
                    <a:pt x="932957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739622" y="987843"/>
              <a:ext cx="1045210" cy="252729"/>
            </a:xfrm>
            <a:custGeom>
              <a:avLst/>
              <a:gdLst/>
              <a:ahLst/>
              <a:cxnLst/>
              <a:rect l="l" t="t" r="r" b="b"/>
              <a:pathLst>
                <a:path w="1045210" h="252730">
                  <a:moveTo>
                    <a:pt x="1045019" y="0"/>
                  </a:moveTo>
                  <a:lnTo>
                    <a:pt x="0" y="0"/>
                  </a:lnTo>
                  <a:lnTo>
                    <a:pt x="0" y="239991"/>
                  </a:lnTo>
                  <a:lnTo>
                    <a:pt x="0" y="252310"/>
                  </a:lnTo>
                  <a:lnTo>
                    <a:pt x="1045019" y="252310"/>
                  </a:lnTo>
                  <a:lnTo>
                    <a:pt x="1045019" y="239991"/>
                  </a:lnTo>
                  <a:lnTo>
                    <a:pt x="10450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900982" y="1000252"/>
            <a:ext cx="72453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Orchestratio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10101541" y="1827377"/>
            <a:ext cx="1054100" cy="3881120"/>
            <a:chOff x="10101541" y="1827377"/>
            <a:chExt cx="1054100" cy="3881120"/>
          </a:xfrm>
        </p:grpSpPr>
        <p:sp>
          <p:nvSpPr>
            <p:cNvPr id="32" name="object 32"/>
            <p:cNvSpPr/>
            <p:nvPr/>
          </p:nvSpPr>
          <p:spPr>
            <a:xfrm>
              <a:off x="10106304" y="1993125"/>
              <a:ext cx="1044575" cy="3710304"/>
            </a:xfrm>
            <a:custGeom>
              <a:avLst/>
              <a:gdLst/>
              <a:ahLst/>
              <a:cxnLst/>
              <a:rect l="l" t="t" r="r" b="b"/>
              <a:pathLst>
                <a:path w="1044575" h="3710304">
                  <a:moveTo>
                    <a:pt x="0" y="0"/>
                  </a:moveTo>
                  <a:lnTo>
                    <a:pt x="1043990" y="0"/>
                  </a:lnTo>
                  <a:lnTo>
                    <a:pt x="1043990" y="3710122"/>
                  </a:lnTo>
                  <a:lnTo>
                    <a:pt x="0" y="371012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0186021" y="1827377"/>
              <a:ext cx="866775" cy="421005"/>
            </a:xfrm>
            <a:custGeom>
              <a:avLst/>
              <a:gdLst/>
              <a:ahLst/>
              <a:cxnLst/>
              <a:rect l="l" t="t" r="r" b="b"/>
              <a:pathLst>
                <a:path w="866775" h="421005">
                  <a:moveTo>
                    <a:pt x="866711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866711" y="420535"/>
                  </a:lnTo>
                  <a:lnTo>
                    <a:pt x="8667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10329659" y="1838451"/>
            <a:ext cx="58039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u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pp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35">
                <a:solidFill>
                  <a:srgbClr val="6C03A8"/>
                </a:solidFill>
                <a:latin typeface="Trebuchet MS"/>
                <a:cs typeface="Trebuchet MS"/>
              </a:rPr>
              <a:t>g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0482059" y="1990851"/>
            <a:ext cx="27559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l</a:t>
            </a:r>
            <a:r>
              <a:rPr sz="1000" spc="-1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4695342" y="1877745"/>
            <a:ext cx="3145790" cy="3853179"/>
            <a:chOff x="4695342" y="1877745"/>
            <a:chExt cx="3145790" cy="3853179"/>
          </a:xfrm>
        </p:grpSpPr>
        <p:sp>
          <p:nvSpPr>
            <p:cNvPr id="37" name="object 37"/>
            <p:cNvSpPr/>
            <p:nvPr/>
          </p:nvSpPr>
          <p:spPr>
            <a:xfrm>
              <a:off x="4695342" y="3824960"/>
              <a:ext cx="377190" cy="797560"/>
            </a:xfrm>
            <a:custGeom>
              <a:avLst/>
              <a:gdLst/>
              <a:ahLst/>
              <a:cxnLst/>
              <a:rect l="l" t="t" r="r" b="b"/>
              <a:pathLst>
                <a:path w="377189" h="797560">
                  <a:moveTo>
                    <a:pt x="181990" y="784339"/>
                  </a:moveTo>
                  <a:lnTo>
                    <a:pt x="0" y="784339"/>
                  </a:lnTo>
                  <a:lnTo>
                    <a:pt x="0" y="797039"/>
                  </a:lnTo>
                  <a:lnTo>
                    <a:pt x="191846" y="797039"/>
                  </a:lnTo>
                  <a:lnTo>
                    <a:pt x="194690" y="794194"/>
                  </a:lnTo>
                  <a:lnTo>
                    <a:pt x="194690" y="790689"/>
                  </a:lnTo>
                  <a:lnTo>
                    <a:pt x="181990" y="790689"/>
                  </a:lnTo>
                  <a:lnTo>
                    <a:pt x="181990" y="784339"/>
                  </a:lnTo>
                  <a:close/>
                </a:path>
                <a:path w="377189" h="797560">
                  <a:moveTo>
                    <a:pt x="300469" y="31750"/>
                  </a:moveTo>
                  <a:lnTo>
                    <a:pt x="184835" y="31750"/>
                  </a:lnTo>
                  <a:lnTo>
                    <a:pt x="181990" y="34594"/>
                  </a:lnTo>
                  <a:lnTo>
                    <a:pt x="181990" y="790689"/>
                  </a:lnTo>
                  <a:lnTo>
                    <a:pt x="188340" y="784339"/>
                  </a:lnTo>
                  <a:lnTo>
                    <a:pt x="194690" y="784339"/>
                  </a:lnTo>
                  <a:lnTo>
                    <a:pt x="194690" y="44450"/>
                  </a:lnTo>
                  <a:lnTo>
                    <a:pt x="188340" y="44450"/>
                  </a:lnTo>
                  <a:lnTo>
                    <a:pt x="194690" y="38100"/>
                  </a:lnTo>
                  <a:lnTo>
                    <a:pt x="300469" y="38100"/>
                  </a:lnTo>
                  <a:lnTo>
                    <a:pt x="300469" y="31750"/>
                  </a:lnTo>
                  <a:close/>
                </a:path>
                <a:path w="377189" h="797560">
                  <a:moveTo>
                    <a:pt x="194690" y="784339"/>
                  </a:moveTo>
                  <a:lnTo>
                    <a:pt x="188340" y="784339"/>
                  </a:lnTo>
                  <a:lnTo>
                    <a:pt x="181990" y="790689"/>
                  </a:lnTo>
                  <a:lnTo>
                    <a:pt x="194690" y="790689"/>
                  </a:lnTo>
                  <a:lnTo>
                    <a:pt x="194690" y="784339"/>
                  </a:lnTo>
                  <a:close/>
                </a:path>
                <a:path w="377189" h="797560">
                  <a:moveTo>
                    <a:pt x="300469" y="0"/>
                  </a:moveTo>
                  <a:lnTo>
                    <a:pt x="300469" y="76200"/>
                  </a:lnTo>
                  <a:lnTo>
                    <a:pt x="363969" y="44450"/>
                  </a:lnTo>
                  <a:lnTo>
                    <a:pt x="313169" y="44450"/>
                  </a:lnTo>
                  <a:lnTo>
                    <a:pt x="313169" y="31750"/>
                  </a:lnTo>
                  <a:lnTo>
                    <a:pt x="363969" y="31750"/>
                  </a:lnTo>
                  <a:lnTo>
                    <a:pt x="300469" y="0"/>
                  </a:lnTo>
                  <a:close/>
                </a:path>
                <a:path w="377189" h="797560">
                  <a:moveTo>
                    <a:pt x="194690" y="38100"/>
                  </a:moveTo>
                  <a:lnTo>
                    <a:pt x="188340" y="44450"/>
                  </a:lnTo>
                  <a:lnTo>
                    <a:pt x="194690" y="44450"/>
                  </a:lnTo>
                  <a:lnTo>
                    <a:pt x="194690" y="38100"/>
                  </a:lnTo>
                  <a:close/>
                </a:path>
                <a:path w="377189" h="797560">
                  <a:moveTo>
                    <a:pt x="300469" y="38100"/>
                  </a:moveTo>
                  <a:lnTo>
                    <a:pt x="194690" y="38100"/>
                  </a:lnTo>
                  <a:lnTo>
                    <a:pt x="194690" y="44450"/>
                  </a:lnTo>
                  <a:lnTo>
                    <a:pt x="300469" y="44450"/>
                  </a:lnTo>
                  <a:lnTo>
                    <a:pt x="300469" y="38100"/>
                  </a:lnTo>
                  <a:close/>
                </a:path>
                <a:path w="377189" h="797560">
                  <a:moveTo>
                    <a:pt x="363969" y="31750"/>
                  </a:moveTo>
                  <a:lnTo>
                    <a:pt x="313169" y="31750"/>
                  </a:lnTo>
                  <a:lnTo>
                    <a:pt x="313169" y="44450"/>
                  </a:lnTo>
                  <a:lnTo>
                    <a:pt x="363969" y="44450"/>
                  </a:lnTo>
                  <a:lnTo>
                    <a:pt x="376669" y="38100"/>
                  </a:lnTo>
                  <a:lnTo>
                    <a:pt x="363969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558267" y="2001697"/>
              <a:ext cx="1278255" cy="3724275"/>
            </a:xfrm>
            <a:custGeom>
              <a:avLst/>
              <a:gdLst/>
              <a:ahLst/>
              <a:cxnLst/>
              <a:rect l="l" t="t" r="r" b="b"/>
              <a:pathLst>
                <a:path w="1278254" h="3724275">
                  <a:moveTo>
                    <a:pt x="0" y="0"/>
                  </a:moveTo>
                  <a:lnTo>
                    <a:pt x="1277770" y="0"/>
                  </a:lnTo>
                  <a:lnTo>
                    <a:pt x="127777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6615976" y="1877745"/>
              <a:ext cx="1148080" cy="421005"/>
            </a:xfrm>
            <a:custGeom>
              <a:avLst/>
              <a:gdLst/>
              <a:ahLst/>
              <a:cxnLst/>
              <a:rect l="l" t="t" r="r" b="b"/>
              <a:pathLst>
                <a:path w="1148079" h="421005">
                  <a:moveTo>
                    <a:pt x="1147813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1147813" y="420535"/>
                  </a:lnTo>
                  <a:lnTo>
                    <a:pt x="11478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4916411" y="3476129"/>
              <a:ext cx="3175" cy="0"/>
            </a:xfrm>
            <a:custGeom>
              <a:avLst/>
              <a:gdLst/>
              <a:ahLst/>
              <a:cxnLst/>
              <a:rect l="l" t="t" r="r" b="b"/>
              <a:pathLst>
                <a:path w="3175">
                  <a:moveTo>
                    <a:pt x="1389" y="-4762"/>
                  </a:moveTo>
                  <a:lnTo>
                    <a:pt x="1389" y="4763"/>
                  </a:lnTo>
                </a:path>
              </a:pathLst>
            </a:custGeom>
            <a:ln w="3175">
              <a:solidFill>
                <a:srgbClr val="A2A2A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6796976" y="1890267"/>
            <a:ext cx="78740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79375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Process and  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ra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2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f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m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80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25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626394" y="265290"/>
            <a:ext cx="9339580" cy="617855"/>
            <a:chOff x="626394" y="265290"/>
            <a:chExt cx="9339580" cy="617855"/>
          </a:xfrm>
        </p:grpSpPr>
        <p:sp>
          <p:nvSpPr>
            <p:cNvPr id="43" name="object 43"/>
            <p:cNvSpPr/>
            <p:nvPr/>
          </p:nvSpPr>
          <p:spPr>
            <a:xfrm>
              <a:off x="631156" y="393598"/>
              <a:ext cx="9330055" cy="485140"/>
            </a:xfrm>
            <a:custGeom>
              <a:avLst/>
              <a:gdLst/>
              <a:ahLst/>
              <a:cxnLst/>
              <a:rect l="l" t="t" r="r" b="b"/>
              <a:pathLst>
                <a:path w="9330055" h="485140">
                  <a:moveTo>
                    <a:pt x="0" y="0"/>
                  </a:moveTo>
                  <a:lnTo>
                    <a:pt x="9329575" y="0"/>
                  </a:lnTo>
                  <a:lnTo>
                    <a:pt x="932957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46903" y="265290"/>
              <a:ext cx="1045210" cy="252729"/>
            </a:xfrm>
            <a:custGeom>
              <a:avLst/>
              <a:gdLst/>
              <a:ahLst/>
              <a:cxnLst/>
              <a:rect l="l" t="t" r="r" b="b"/>
              <a:pathLst>
                <a:path w="1045210" h="252729">
                  <a:moveTo>
                    <a:pt x="1045015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1045015" y="252298"/>
                  </a:lnTo>
                  <a:lnTo>
                    <a:pt x="10450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973339" y="277875"/>
            <a:ext cx="5937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Monitor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1745767" y="1763712"/>
            <a:ext cx="6656070" cy="3966210"/>
            <a:chOff x="1745767" y="1763712"/>
            <a:chExt cx="6656070" cy="3966210"/>
          </a:xfrm>
        </p:grpSpPr>
        <p:sp>
          <p:nvSpPr>
            <p:cNvPr id="47" name="object 47"/>
            <p:cNvSpPr/>
            <p:nvPr/>
          </p:nvSpPr>
          <p:spPr>
            <a:xfrm>
              <a:off x="1745767" y="2599359"/>
              <a:ext cx="3326765" cy="2054860"/>
            </a:xfrm>
            <a:custGeom>
              <a:avLst/>
              <a:gdLst/>
              <a:ahLst/>
              <a:cxnLst/>
              <a:rect l="l" t="t" r="r" b="b"/>
              <a:pathLst>
                <a:path w="3326765" h="2054860">
                  <a:moveTo>
                    <a:pt x="445376" y="38100"/>
                  </a:moveTo>
                  <a:lnTo>
                    <a:pt x="432676" y="31750"/>
                  </a:lnTo>
                  <a:lnTo>
                    <a:pt x="369176" y="0"/>
                  </a:lnTo>
                  <a:lnTo>
                    <a:pt x="369176" y="31750"/>
                  </a:lnTo>
                  <a:lnTo>
                    <a:pt x="219189" y="31750"/>
                  </a:lnTo>
                  <a:lnTo>
                    <a:pt x="216344" y="34582"/>
                  </a:lnTo>
                  <a:lnTo>
                    <a:pt x="216344" y="1208405"/>
                  </a:lnTo>
                  <a:lnTo>
                    <a:pt x="0" y="1208405"/>
                  </a:lnTo>
                  <a:lnTo>
                    <a:pt x="0" y="1221105"/>
                  </a:lnTo>
                  <a:lnTo>
                    <a:pt x="216306" y="1221105"/>
                  </a:lnTo>
                  <a:lnTo>
                    <a:pt x="216306" y="2019795"/>
                  </a:lnTo>
                  <a:lnTo>
                    <a:pt x="219151" y="2022640"/>
                  </a:lnTo>
                  <a:lnTo>
                    <a:pt x="369125" y="2022640"/>
                  </a:lnTo>
                  <a:lnTo>
                    <a:pt x="369125" y="2054390"/>
                  </a:lnTo>
                  <a:lnTo>
                    <a:pt x="432625" y="2022640"/>
                  </a:lnTo>
                  <a:lnTo>
                    <a:pt x="445325" y="2016290"/>
                  </a:lnTo>
                  <a:lnTo>
                    <a:pt x="432625" y="2009940"/>
                  </a:lnTo>
                  <a:lnTo>
                    <a:pt x="369125" y="1978190"/>
                  </a:lnTo>
                  <a:lnTo>
                    <a:pt x="369125" y="2009940"/>
                  </a:lnTo>
                  <a:lnTo>
                    <a:pt x="229006" y="2009940"/>
                  </a:lnTo>
                  <a:lnTo>
                    <a:pt x="229006" y="1221105"/>
                  </a:lnTo>
                  <a:lnTo>
                    <a:pt x="229006" y="1218298"/>
                  </a:lnTo>
                  <a:lnTo>
                    <a:pt x="229044" y="1214755"/>
                  </a:lnTo>
                  <a:lnTo>
                    <a:pt x="229044" y="1208405"/>
                  </a:lnTo>
                  <a:lnTo>
                    <a:pt x="229044" y="44450"/>
                  </a:lnTo>
                  <a:lnTo>
                    <a:pt x="369176" y="44450"/>
                  </a:lnTo>
                  <a:lnTo>
                    <a:pt x="369176" y="76200"/>
                  </a:lnTo>
                  <a:lnTo>
                    <a:pt x="432676" y="44450"/>
                  </a:lnTo>
                  <a:lnTo>
                    <a:pt x="445376" y="38100"/>
                  </a:lnTo>
                  <a:close/>
                </a:path>
                <a:path w="3326765" h="2054860">
                  <a:moveTo>
                    <a:pt x="3326244" y="1263700"/>
                  </a:moveTo>
                  <a:lnTo>
                    <a:pt x="3313544" y="1257350"/>
                  </a:lnTo>
                  <a:lnTo>
                    <a:pt x="3250044" y="1225600"/>
                  </a:lnTo>
                  <a:lnTo>
                    <a:pt x="3250044" y="1257350"/>
                  </a:lnTo>
                  <a:lnTo>
                    <a:pt x="3144291" y="1257350"/>
                  </a:lnTo>
                  <a:lnTo>
                    <a:pt x="3144291" y="44450"/>
                  </a:lnTo>
                  <a:lnTo>
                    <a:pt x="3144291" y="38100"/>
                  </a:lnTo>
                  <a:lnTo>
                    <a:pt x="3144291" y="34582"/>
                  </a:lnTo>
                  <a:lnTo>
                    <a:pt x="3141446" y="31750"/>
                  </a:lnTo>
                  <a:lnTo>
                    <a:pt x="2949638" y="31750"/>
                  </a:lnTo>
                  <a:lnTo>
                    <a:pt x="2949638" y="44450"/>
                  </a:lnTo>
                  <a:lnTo>
                    <a:pt x="3131591" y="44450"/>
                  </a:lnTo>
                  <a:lnTo>
                    <a:pt x="3131591" y="1267206"/>
                  </a:lnTo>
                  <a:lnTo>
                    <a:pt x="3134436" y="1270050"/>
                  </a:lnTo>
                  <a:lnTo>
                    <a:pt x="3250044" y="1270050"/>
                  </a:lnTo>
                  <a:lnTo>
                    <a:pt x="3250044" y="1301800"/>
                  </a:lnTo>
                  <a:lnTo>
                    <a:pt x="3313544" y="1270050"/>
                  </a:lnTo>
                  <a:lnTo>
                    <a:pt x="3326244" y="126370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4695406" y="1770064"/>
              <a:ext cx="957580" cy="867410"/>
            </a:xfrm>
            <a:custGeom>
              <a:avLst/>
              <a:gdLst/>
              <a:ahLst/>
              <a:cxnLst/>
              <a:rect l="l" t="t" r="r" b="b"/>
              <a:pathLst>
                <a:path w="957579" h="867410">
                  <a:moveTo>
                    <a:pt x="0" y="867395"/>
                  </a:moveTo>
                  <a:lnTo>
                    <a:pt x="189874" y="867395"/>
                  </a:lnTo>
                  <a:lnTo>
                    <a:pt x="189874" y="0"/>
                  </a:lnTo>
                  <a:lnTo>
                    <a:pt x="957504" y="0"/>
                  </a:lnTo>
                </a:path>
              </a:pathLst>
            </a:custGeom>
            <a:ln w="12700">
              <a:solidFill>
                <a:srgbClr val="B7B1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5652909" y="1763712"/>
              <a:ext cx="2748915" cy="252729"/>
            </a:xfrm>
            <a:custGeom>
              <a:avLst/>
              <a:gdLst/>
              <a:ahLst/>
              <a:cxnLst/>
              <a:rect l="l" t="t" r="r" b="b"/>
              <a:pathLst>
                <a:path w="2748915" h="252730">
                  <a:moveTo>
                    <a:pt x="2704045" y="176212"/>
                  </a:moveTo>
                  <a:lnTo>
                    <a:pt x="2672295" y="176212"/>
                  </a:lnTo>
                  <a:lnTo>
                    <a:pt x="2710395" y="252412"/>
                  </a:lnTo>
                  <a:lnTo>
                    <a:pt x="2742145" y="188912"/>
                  </a:lnTo>
                  <a:lnTo>
                    <a:pt x="2704045" y="188912"/>
                  </a:lnTo>
                  <a:lnTo>
                    <a:pt x="2704045" y="176212"/>
                  </a:lnTo>
                  <a:close/>
                </a:path>
                <a:path w="2748915" h="252730">
                  <a:moveTo>
                    <a:pt x="2704045" y="6350"/>
                  </a:moveTo>
                  <a:lnTo>
                    <a:pt x="2704045" y="188912"/>
                  </a:lnTo>
                  <a:lnTo>
                    <a:pt x="2716745" y="188912"/>
                  </a:lnTo>
                  <a:lnTo>
                    <a:pt x="2716745" y="12700"/>
                  </a:lnTo>
                  <a:lnTo>
                    <a:pt x="2710395" y="12700"/>
                  </a:lnTo>
                  <a:lnTo>
                    <a:pt x="2704045" y="6350"/>
                  </a:lnTo>
                  <a:close/>
                </a:path>
                <a:path w="2748915" h="252730">
                  <a:moveTo>
                    <a:pt x="2748495" y="176212"/>
                  </a:moveTo>
                  <a:lnTo>
                    <a:pt x="2716745" y="176212"/>
                  </a:lnTo>
                  <a:lnTo>
                    <a:pt x="2716745" y="188912"/>
                  </a:lnTo>
                  <a:lnTo>
                    <a:pt x="2742145" y="188912"/>
                  </a:lnTo>
                  <a:lnTo>
                    <a:pt x="2748495" y="176212"/>
                  </a:lnTo>
                  <a:close/>
                </a:path>
                <a:path w="2748915" h="252730">
                  <a:moveTo>
                    <a:pt x="2713913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2704045" y="12700"/>
                  </a:lnTo>
                  <a:lnTo>
                    <a:pt x="2704045" y="6350"/>
                  </a:lnTo>
                  <a:lnTo>
                    <a:pt x="2716745" y="6350"/>
                  </a:lnTo>
                  <a:lnTo>
                    <a:pt x="2716745" y="2844"/>
                  </a:lnTo>
                  <a:lnTo>
                    <a:pt x="2713913" y="0"/>
                  </a:lnTo>
                  <a:close/>
                </a:path>
                <a:path w="2748915" h="252730">
                  <a:moveTo>
                    <a:pt x="2716745" y="6350"/>
                  </a:moveTo>
                  <a:lnTo>
                    <a:pt x="2704045" y="6350"/>
                  </a:lnTo>
                  <a:lnTo>
                    <a:pt x="2710395" y="12700"/>
                  </a:lnTo>
                  <a:lnTo>
                    <a:pt x="2716745" y="12700"/>
                  </a:lnTo>
                  <a:lnTo>
                    <a:pt x="2716745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5072011" y="2001126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5537504" y="1896853"/>
            <a:ext cx="269875" cy="155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50"/>
              </a:lnSpc>
            </a:pPr>
            <a:r>
              <a:rPr sz="1000" spc="-60">
                <a:solidFill>
                  <a:srgbClr val="C00000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C00000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C00000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5238978" y="2338704"/>
            <a:ext cx="3698240" cy="2401570"/>
            <a:chOff x="5238978" y="2338704"/>
            <a:chExt cx="3698240" cy="2401570"/>
          </a:xfrm>
        </p:grpSpPr>
        <p:sp>
          <p:nvSpPr>
            <p:cNvPr id="53" name="object 53"/>
            <p:cNvSpPr/>
            <p:nvPr/>
          </p:nvSpPr>
          <p:spPr>
            <a:xfrm>
              <a:off x="6355384" y="3825531"/>
              <a:ext cx="202882" cy="762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7836039" y="3857281"/>
              <a:ext cx="1073785" cy="882650"/>
            </a:xfrm>
            <a:custGeom>
              <a:avLst/>
              <a:gdLst/>
              <a:ahLst/>
              <a:cxnLst/>
              <a:rect l="l" t="t" r="r" b="b"/>
              <a:pathLst>
                <a:path w="1073784" h="882650">
                  <a:moveTo>
                    <a:pt x="997483" y="806234"/>
                  </a:moveTo>
                  <a:lnTo>
                    <a:pt x="997483" y="882434"/>
                  </a:lnTo>
                  <a:lnTo>
                    <a:pt x="1060983" y="850684"/>
                  </a:lnTo>
                  <a:lnTo>
                    <a:pt x="1010183" y="850684"/>
                  </a:lnTo>
                  <a:lnTo>
                    <a:pt x="1010183" y="837984"/>
                  </a:lnTo>
                  <a:lnTo>
                    <a:pt x="1060983" y="837984"/>
                  </a:lnTo>
                  <a:lnTo>
                    <a:pt x="997483" y="806234"/>
                  </a:lnTo>
                  <a:close/>
                </a:path>
                <a:path w="1073784" h="882650">
                  <a:moveTo>
                    <a:pt x="956919" y="6350"/>
                  </a:moveTo>
                  <a:lnTo>
                    <a:pt x="956919" y="847839"/>
                  </a:lnTo>
                  <a:lnTo>
                    <a:pt x="959764" y="850684"/>
                  </a:lnTo>
                  <a:lnTo>
                    <a:pt x="997483" y="850684"/>
                  </a:lnTo>
                  <a:lnTo>
                    <a:pt x="997483" y="844334"/>
                  </a:lnTo>
                  <a:lnTo>
                    <a:pt x="969619" y="844334"/>
                  </a:lnTo>
                  <a:lnTo>
                    <a:pt x="963269" y="837984"/>
                  </a:lnTo>
                  <a:lnTo>
                    <a:pt x="969619" y="837984"/>
                  </a:lnTo>
                  <a:lnTo>
                    <a:pt x="969619" y="12700"/>
                  </a:lnTo>
                  <a:lnTo>
                    <a:pt x="963269" y="12700"/>
                  </a:lnTo>
                  <a:lnTo>
                    <a:pt x="956919" y="6350"/>
                  </a:lnTo>
                  <a:close/>
                </a:path>
                <a:path w="1073784" h="882650">
                  <a:moveTo>
                    <a:pt x="1060983" y="837984"/>
                  </a:moveTo>
                  <a:lnTo>
                    <a:pt x="1010183" y="837984"/>
                  </a:lnTo>
                  <a:lnTo>
                    <a:pt x="1010183" y="850684"/>
                  </a:lnTo>
                  <a:lnTo>
                    <a:pt x="1060983" y="850684"/>
                  </a:lnTo>
                  <a:lnTo>
                    <a:pt x="1073683" y="844334"/>
                  </a:lnTo>
                  <a:lnTo>
                    <a:pt x="1060983" y="837984"/>
                  </a:lnTo>
                  <a:close/>
                </a:path>
                <a:path w="1073784" h="882650">
                  <a:moveTo>
                    <a:pt x="969619" y="837984"/>
                  </a:moveTo>
                  <a:lnTo>
                    <a:pt x="963269" y="837984"/>
                  </a:lnTo>
                  <a:lnTo>
                    <a:pt x="969619" y="844334"/>
                  </a:lnTo>
                  <a:lnTo>
                    <a:pt x="969619" y="837984"/>
                  </a:lnTo>
                  <a:close/>
                </a:path>
                <a:path w="1073784" h="882650">
                  <a:moveTo>
                    <a:pt x="997483" y="837984"/>
                  </a:moveTo>
                  <a:lnTo>
                    <a:pt x="969619" y="837984"/>
                  </a:lnTo>
                  <a:lnTo>
                    <a:pt x="969619" y="844334"/>
                  </a:lnTo>
                  <a:lnTo>
                    <a:pt x="997483" y="844334"/>
                  </a:lnTo>
                  <a:lnTo>
                    <a:pt x="997483" y="837984"/>
                  </a:lnTo>
                  <a:close/>
                </a:path>
                <a:path w="1073784" h="882650">
                  <a:moveTo>
                    <a:pt x="966774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956919" y="12700"/>
                  </a:lnTo>
                  <a:lnTo>
                    <a:pt x="956919" y="6350"/>
                  </a:lnTo>
                  <a:lnTo>
                    <a:pt x="969619" y="6350"/>
                  </a:lnTo>
                  <a:lnTo>
                    <a:pt x="969619" y="2844"/>
                  </a:lnTo>
                  <a:lnTo>
                    <a:pt x="966774" y="0"/>
                  </a:lnTo>
                  <a:close/>
                </a:path>
                <a:path w="1073784" h="882650">
                  <a:moveTo>
                    <a:pt x="969619" y="6350"/>
                  </a:moveTo>
                  <a:lnTo>
                    <a:pt x="956919" y="6350"/>
                  </a:lnTo>
                  <a:lnTo>
                    <a:pt x="963269" y="12700"/>
                  </a:lnTo>
                  <a:lnTo>
                    <a:pt x="969619" y="12700"/>
                  </a:lnTo>
                  <a:lnTo>
                    <a:pt x="969619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6355384" y="3824960"/>
              <a:ext cx="202882" cy="7620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7836039" y="2690723"/>
              <a:ext cx="1101090" cy="1179830"/>
            </a:xfrm>
            <a:custGeom>
              <a:avLst/>
              <a:gdLst/>
              <a:ahLst/>
              <a:cxnLst/>
              <a:rect l="l" t="t" r="r" b="b"/>
              <a:pathLst>
                <a:path w="1101090" h="1179829">
                  <a:moveTo>
                    <a:pt x="963612" y="1166558"/>
                  </a:moveTo>
                  <a:lnTo>
                    <a:pt x="0" y="1166558"/>
                  </a:lnTo>
                  <a:lnTo>
                    <a:pt x="0" y="1179258"/>
                  </a:lnTo>
                  <a:lnTo>
                    <a:pt x="973467" y="1179258"/>
                  </a:lnTo>
                  <a:lnTo>
                    <a:pt x="976312" y="1176413"/>
                  </a:lnTo>
                  <a:lnTo>
                    <a:pt x="976312" y="1172908"/>
                  </a:lnTo>
                  <a:lnTo>
                    <a:pt x="963612" y="1172908"/>
                  </a:lnTo>
                  <a:lnTo>
                    <a:pt x="963612" y="1166558"/>
                  </a:lnTo>
                  <a:close/>
                </a:path>
                <a:path w="1101090" h="1179829">
                  <a:moveTo>
                    <a:pt x="1024597" y="31750"/>
                  </a:moveTo>
                  <a:lnTo>
                    <a:pt x="966444" y="31750"/>
                  </a:lnTo>
                  <a:lnTo>
                    <a:pt x="963612" y="34594"/>
                  </a:lnTo>
                  <a:lnTo>
                    <a:pt x="963612" y="1172908"/>
                  </a:lnTo>
                  <a:lnTo>
                    <a:pt x="969962" y="1166558"/>
                  </a:lnTo>
                  <a:lnTo>
                    <a:pt x="976312" y="1166558"/>
                  </a:lnTo>
                  <a:lnTo>
                    <a:pt x="976312" y="44450"/>
                  </a:lnTo>
                  <a:lnTo>
                    <a:pt x="969962" y="44450"/>
                  </a:lnTo>
                  <a:lnTo>
                    <a:pt x="976312" y="38100"/>
                  </a:lnTo>
                  <a:lnTo>
                    <a:pt x="1024597" y="38100"/>
                  </a:lnTo>
                  <a:lnTo>
                    <a:pt x="1024597" y="31750"/>
                  </a:lnTo>
                  <a:close/>
                </a:path>
                <a:path w="1101090" h="1179829">
                  <a:moveTo>
                    <a:pt x="976312" y="1166558"/>
                  </a:moveTo>
                  <a:lnTo>
                    <a:pt x="969962" y="1166558"/>
                  </a:lnTo>
                  <a:lnTo>
                    <a:pt x="963612" y="1172908"/>
                  </a:lnTo>
                  <a:lnTo>
                    <a:pt x="976312" y="1172908"/>
                  </a:lnTo>
                  <a:lnTo>
                    <a:pt x="976312" y="1166558"/>
                  </a:lnTo>
                  <a:close/>
                </a:path>
                <a:path w="1101090" h="1179829">
                  <a:moveTo>
                    <a:pt x="1024597" y="0"/>
                  </a:moveTo>
                  <a:lnTo>
                    <a:pt x="1024597" y="76200"/>
                  </a:lnTo>
                  <a:lnTo>
                    <a:pt x="1088097" y="44450"/>
                  </a:lnTo>
                  <a:lnTo>
                    <a:pt x="1037297" y="44450"/>
                  </a:lnTo>
                  <a:lnTo>
                    <a:pt x="1037297" y="31750"/>
                  </a:lnTo>
                  <a:lnTo>
                    <a:pt x="1088097" y="31750"/>
                  </a:lnTo>
                  <a:lnTo>
                    <a:pt x="1024597" y="0"/>
                  </a:lnTo>
                  <a:close/>
                </a:path>
                <a:path w="1101090" h="1179829">
                  <a:moveTo>
                    <a:pt x="976312" y="38100"/>
                  </a:moveTo>
                  <a:lnTo>
                    <a:pt x="969962" y="44450"/>
                  </a:lnTo>
                  <a:lnTo>
                    <a:pt x="976312" y="44450"/>
                  </a:lnTo>
                  <a:lnTo>
                    <a:pt x="976312" y="38100"/>
                  </a:lnTo>
                  <a:close/>
                </a:path>
                <a:path w="1101090" h="1179829">
                  <a:moveTo>
                    <a:pt x="1024597" y="38100"/>
                  </a:moveTo>
                  <a:lnTo>
                    <a:pt x="976312" y="38100"/>
                  </a:lnTo>
                  <a:lnTo>
                    <a:pt x="976312" y="44450"/>
                  </a:lnTo>
                  <a:lnTo>
                    <a:pt x="1024597" y="44450"/>
                  </a:lnTo>
                  <a:lnTo>
                    <a:pt x="1024597" y="38100"/>
                  </a:lnTo>
                  <a:close/>
                </a:path>
                <a:path w="1101090" h="1179829">
                  <a:moveTo>
                    <a:pt x="1088097" y="31750"/>
                  </a:moveTo>
                  <a:lnTo>
                    <a:pt x="1037297" y="31750"/>
                  </a:lnTo>
                  <a:lnTo>
                    <a:pt x="1037297" y="44450"/>
                  </a:lnTo>
                  <a:lnTo>
                    <a:pt x="1088097" y="44450"/>
                  </a:lnTo>
                  <a:lnTo>
                    <a:pt x="1100797" y="38100"/>
                  </a:lnTo>
                  <a:lnTo>
                    <a:pt x="1088097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5243741" y="3175342"/>
              <a:ext cx="953135" cy="673735"/>
            </a:xfrm>
            <a:custGeom>
              <a:avLst/>
              <a:gdLst/>
              <a:ahLst/>
              <a:cxnLst/>
              <a:rect l="l" t="t" r="r" b="b"/>
              <a:pathLst>
                <a:path w="953135" h="673735">
                  <a:moveTo>
                    <a:pt x="0" y="0"/>
                  </a:moveTo>
                  <a:lnTo>
                    <a:pt x="952700" y="0"/>
                  </a:lnTo>
                  <a:lnTo>
                    <a:pt x="952700" y="673656"/>
                  </a:lnTo>
                  <a:lnTo>
                    <a:pt x="0" y="67365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5247830" y="2343467"/>
              <a:ext cx="941069" cy="642620"/>
            </a:xfrm>
            <a:custGeom>
              <a:avLst/>
              <a:gdLst/>
              <a:ahLst/>
              <a:cxnLst/>
              <a:rect l="l" t="t" r="r" b="b"/>
              <a:pathLst>
                <a:path w="941070" h="642619">
                  <a:moveTo>
                    <a:pt x="0" y="0"/>
                  </a:moveTo>
                  <a:lnTo>
                    <a:pt x="940847" y="0"/>
                  </a:lnTo>
                  <a:lnTo>
                    <a:pt x="940847" y="642286"/>
                  </a:lnTo>
                  <a:lnTo>
                    <a:pt x="0" y="64228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1773656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40029">
              <a:lnSpc>
                <a:spcPct val="100000"/>
              </a:lnSpc>
            </a:pPr>
            <a:r>
              <a:rPr sz="800" spc="-30">
                <a:latin typeface="Trebuchet MS"/>
                <a:cs typeface="Trebuchet MS"/>
              </a:rPr>
              <a:t>Logg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805950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41935">
              <a:lnSpc>
                <a:spcPct val="100000"/>
              </a:lnSpc>
            </a:pPr>
            <a:r>
              <a:rPr sz="800" spc="-15">
                <a:latin typeface="Trebuchet MS"/>
                <a:cs typeface="Trebuchet MS"/>
              </a:rPr>
              <a:t>Metric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3838244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34315">
              <a:lnSpc>
                <a:spcPct val="100000"/>
              </a:lnSpc>
            </a:pPr>
            <a:r>
              <a:rPr sz="800" spc="-35">
                <a:latin typeface="Trebuchet MS"/>
                <a:cs typeface="Trebuchet MS"/>
              </a:rPr>
              <a:t>Alert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752993" y="1227836"/>
            <a:ext cx="803275" cy="252729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73355">
              <a:lnSpc>
                <a:spcPts val="955"/>
              </a:lnSpc>
            </a:pPr>
            <a:r>
              <a:rPr sz="800" spc="-30">
                <a:latin typeface="Trebuchet MS"/>
                <a:cs typeface="Trebuchet MS"/>
              </a:rPr>
              <a:t>Schedul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587576" y="6033052"/>
            <a:ext cx="11080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26695">
              <a:lnSpc>
                <a:spcPct val="100000"/>
              </a:lnSpc>
              <a:spcBef>
                <a:spcPts val="5"/>
              </a:spcBef>
            </a:pPr>
            <a:r>
              <a:rPr sz="800" spc="-25">
                <a:latin typeface="Trebuchet MS"/>
                <a:cs typeface="Trebuchet MS"/>
              </a:rPr>
              <a:t>Version</a:t>
            </a:r>
            <a:r>
              <a:rPr sz="800" spc="-6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Control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037700" y="6033627"/>
            <a:ext cx="8032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800" spc="-45">
                <a:latin typeface="Trebuchet MS"/>
                <a:cs typeface="Trebuchet MS"/>
              </a:rPr>
              <a:t>CI/CD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391016" y="2246807"/>
            <a:ext cx="2137410" cy="6559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48970">
              <a:lnSpc>
                <a:spcPts val="950"/>
              </a:lnSpc>
            </a:pPr>
            <a:r>
              <a:rPr sz="800" spc="-30">
                <a:latin typeface="Trebuchet MS"/>
                <a:cs typeface="Trebuchet MS"/>
              </a:rPr>
              <a:t>Streaming of</a:t>
            </a:r>
            <a:r>
              <a:rPr sz="800" spc="-75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event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399893" y="4868240"/>
            <a:ext cx="2137410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327025">
              <a:lnSpc>
                <a:spcPct val="100000"/>
              </a:lnSpc>
              <a:spcBef>
                <a:spcPts val="10"/>
              </a:spcBef>
            </a:pPr>
            <a:r>
              <a:rPr sz="800" spc="-30">
                <a:latin typeface="Trebuchet MS"/>
                <a:cs typeface="Trebuchet MS"/>
              </a:rPr>
              <a:t>Data </a:t>
            </a:r>
            <a:r>
              <a:rPr sz="800" spc="-40">
                <a:latin typeface="Trebuchet MS"/>
                <a:cs typeface="Trebuchet MS"/>
              </a:rPr>
              <a:t>Replication/ingest </a:t>
            </a:r>
            <a:r>
              <a:rPr sz="800" spc="-25">
                <a:latin typeface="Trebuchet MS"/>
                <a:cs typeface="Trebuchet MS"/>
              </a:rPr>
              <a:t>as </a:t>
            </a:r>
            <a:r>
              <a:rPr sz="800" spc="-40">
                <a:latin typeface="Trebuchet MS"/>
                <a:cs typeface="Trebuchet MS"/>
              </a:rPr>
              <a:t>a</a:t>
            </a:r>
            <a:r>
              <a:rPr sz="800" spc="-120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servic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389949" y="3863060"/>
            <a:ext cx="1077595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38760">
              <a:lnSpc>
                <a:spcPct val="100000"/>
              </a:lnSpc>
              <a:spcBef>
                <a:spcPts val="5"/>
              </a:spcBef>
            </a:pPr>
            <a:r>
              <a:rPr sz="800" spc="-30">
                <a:latin typeface="Trebuchet MS"/>
                <a:cs typeface="Trebuchet MS"/>
              </a:rPr>
              <a:t>Custom</a:t>
            </a:r>
            <a:r>
              <a:rPr sz="800" spc="-5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Ingest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369255" y="2347757"/>
            <a:ext cx="701675" cy="956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919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65">
                <a:latin typeface="Trebuchet MS"/>
                <a:cs typeface="Trebuchet MS"/>
              </a:rPr>
              <a:t> </a:t>
            </a:r>
            <a:r>
              <a:rPr sz="800" spc="-45">
                <a:latin typeface="Trebuchet MS"/>
                <a:cs typeface="Trebuchet MS"/>
              </a:rPr>
              <a:t>Lake</a:t>
            </a:r>
            <a:endParaRPr sz="8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114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Warehous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9068993" y="4846980"/>
            <a:ext cx="757555" cy="59436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marL="135255" marR="128270" indent="64135">
              <a:lnSpc>
                <a:spcPts val="890"/>
              </a:lnSpc>
              <a:spcBef>
                <a:spcPts val="95"/>
              </a:spcBef>
            </a:pPr>
            <a:r>
              <a:rPr sz="800" spc="-25">
                <a:latin typeface="Trebuchet MS"/>
                <a:cs typeface="Trebuchet MS"/>
              </a:rPr>
              <a:t>Business  </a:t>
            </a:r>
            <a:r>
              <a:rPr sz="800" spc="-20">
                <a:latin typeface="Trebuchet MS"/>
                <a:cs typeface="Trebuchet MS"/>
              </a:rPr>
              <a:t>I</a:t>
            </a:r>
            <a:r>
              <a:rPr sz="800" spc="-30">
                <a:latin typeface="Trebuchet MS"/>
                <a:cs typeface="Trebuchet MS"/>
              </a:rPr>
              <a:t>n</a:t>
            </a:r>
            <a:r>
              <a:rPr sz="800" spc="-45">
                <a:latin typeface="Trebuchet MS"/>
                <a:cs typeface="Trebuchet MS"/>
              </a:rPr>
              <a:t>t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55">
                <a:latin typeface="Trebuchet MS"/>
                <a:cs typeface="Trebuchet MS"/>
              </a:rPr>
              <a:t>ll</a:t>
            </a:r>
            <a:r>
              <a:rPr sz="800" spc="-45">
                <a:latin typeface="Trebuchet MS"/>
                <a:cs typeface="Trebuchet MS"/>
              </a:rPr>
              <a:t>i</a:t>
            </a:r>
            <a:r>
              <a:rPr sz="800" spc="-15">
                <a:latin typeface="Trebuchet MS"/>
                <a:cs typeface="Trebuchet MS"/>
              </a:rPr>
              <a:t>g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20">
                <a:latin typeface="Trebuchet MS"/>
                <a:cs typeface="Trebuchet MS"/>
              </a:rPr>
              <a:t>n</a:t>
            </a:r>
            <a:r>
              <a:rPr sz="800" spc="-50">
                <a:latin typeface="Trebuchet MS"/>
                <a:cs typeface="Trebuchet MS"/>
              </a:rPr>
              <a:t>c</a:t>
            </a:r>
            <a:r>
              <a:rPr sz="800" spc="-40">
                <a:latin typeface="Trebuchet MS"/>
                <a:cs typeface="Trebuchet MS"/>
              </a:rPr>
              <a:t>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9077249" y="3972140"/>
            <a:ext cx="756920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2540" rIns="0" bIns="0" rtlCol="0">
            <a:spAutoFit/>
          </a:bodyPr>
          <a:lstStyle/>
          <a:p>
            <a:pPr marL="151130" marR="144145" algn="ctr">
              <a:lnSpc>
                <a:spcPct val="98700"/>
              </a:lnSpc>
              <a:spcBef>
                <a:spcPts val="20"/>
              </a:spcBef>
            </a:pPr>
            <a:r>
              <a:rPr sz="800" spc="-10">
                <a:latin typeface="Trebuchet MS"/>
                <a:cs typeface="Trebuchet MS"/>
              </a:rPr>
              <a:t>Machine  </a:t>
            </a:r>
            <a:r>
              <a:rPr sz="800" spc="-35">
                <a:latin typeface="Trebuchet MS"/>
                <a:cs typeface="Trebuchet MS"/>
              </a:rPr>
              <a:t>Learning</a:t>
            </a:r>
            <a:r>
              <a:rPr sz="800" spc="-130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&amp;  </a:t>
            </a:r>
            <a:r>
              <a:rPr sz="800" spc="-35">
                <a:latin typeface="Trebuchet MS"/>
                <a:cs typeface="Trebuchet MS"/>
              </a:rPr>
              <a:t>Analytic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0228236" y="2399652"/>
            <a:ext cx="807720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135255">
              <a:lnSpc>
                <a:spcPct val="100000"/>
              </a:lnSpc>
              <a:spcBef>
                <a:spcPts val="10"/>
              </a:spcBef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65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Catalo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0228236" y="3189490"/>
            <a:ext cx="803275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869"/>
              </a:lnSpc>
            </a:pPr>
            <a:r>
              <a:rPr sz="800" spc="-35">
                <a:latin typeface="Trebuchet MS"/>
                <a:cs typeface="Trebuchet MS"/>
              </a:rPr>
              <a:t>Access</a:t>
            </a:r>
            <a:endParaRPr sz="800">
              <a:latin typeface="Trebuchet MS"/>
              <a:cs typeface="Trebuchet MS"/>
            </a:endParaRPr>
          </a:p>
          <a:p>
            <a:pPr marL="635" algn="ctr">
              <a:lnSpc>
                <a:spcPct val="100000"/>
              </a:lnSpc>
              <a:spcBef>
                <a:spcPts val="20"/>
              </a:spcBef>
            </a:pPr>
            <a:r>
              <a:rPr sz="800" spc="-20">
                <a:latin typeface="Trebuchet MS"/>
                <a:cs typeface="Trebuchet MS"/>
              </a:rPr>
              <a:t>Management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73" name="object 73"/>
          <p:cNvGrpSpPr/>
          <p:nvPr/>
        </p:nvGrpSpPr>
        <p:grpSpPr>
          <a:xfrm>
            <a:off x="720391" y="1866620"/>
            <a:ext cx="5640070" cy="3863340"/>
            <a:chOff x="720391" y="1866620"/>
            <a:chExt cx="5640070" cy="3863340"/>
          </a:xfrm>
        </p:grpSpPr>
        <p:sp>
          <p:nvSpPr>
            <p:cNvPr id="74" name="object 74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5072011" y="2000884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1283373" y="0"/>
                  </a:moveTo>
                  <a:lnTo>
                    <a:pt x="0" y="0"/>
                  </a:lnTo>
                  <a:lnTo>
                    <a:pt x="0" y="3723868"/>
                  </a:lnTo>
                  <a:lnTo>
                    <a:pt x="1283373" y="3723868"/>
                  </a:lnTo>
                  <a:lnTo>
                    <a:pt x="128337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5072011" y="2000884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5267528" y="1866620"/>
              <a:ext cx="808355" cy="252729"/>
            </a:xfrm>
            <a:custGeom>
              <a:avLst/>
              <a:gdLst/>
              <a:ahLst/>
              <a:cxnLst/>
              <a:rect l="l" t="t" r="r" b="b"/>
              <a:pathLst>
                <a:path w="808354" h="252730">
                  <a:moveTo>
                    <a:pt x="808240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808240" y="252298"/>
                  </a:lnTo>
                  <a:lnTo>
                    <a:pt x="80824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1" name="object 81"/>
          <p:cNvSpPr txBox="1"/>
          <p:nvPr/>
        </p:nvSpPr>
        <p:spPr>
          <a:xfrm>
            <a:off x="5524804" y="1878075"/>
            <a:ext cx="2952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5231955" y="2212162"/>
            <a:ext cx="984885" cy="12782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39395">
              <a:lnSpc>
                <a:spcPts val="1095"/>
              </a:lnSpc>
            </a:pPr>
            <a:r>
              <a:rPr sz="1000" spc="-45">
                <a:latin typeface="Trebuchet MS"/>
                <a:cs typeface="Trebuchet MS"/>
              </a:rPr>
              <a:t>Data</a:t>
            </a:r>
            <a:r>
              <a:rPr sz="1000" spc="-95">
                <a:latin typeface="Trebuchet MS"/>
                <a:cs typeface="Trebuchet MS"/>
              </a:rPr>
              <a:t> </a:t>
            </a:r>
            <a:r>
              <a:rPr sz="1000" spc="-60">
                <a:latin typeface="Trebuchet MS"/>
                <a:cs typeface="Trebuchet MS"/>
              </a:rPr>
              <a:t>Lak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5231460" y="3697897"/>
            <a:ext cx="987425" cy="146939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105"/>
              </a:lnSpc>
            </a:pPr>
            <a:r>
              <a:rPr sz="1000" spc="-45">
                <a:latin typeface="Trebuchet MS"/>
                <a:cs typeface="Trebuchet MS"/>
              </a:rPr>
              <a:t>Data</a:t>
            </a:r>
            <a:endParaRPr sz="10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1000" spc="-30">
                <a:latin typeface="Trebuchet MS"/>
                <a:cs typeface="Trebuchet MS"/>
              </a:rPr>
              <a:t>Warehous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6665176" y="2346413"/>
            <a:ext cx="1017905" cy="53276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8255" rIns="0" bIns="0" rtlCol="0">
            <a:spAutoFit/>
          </a:bodyPr>
          <a:lstStyle/>
          <a:p>
            <a:pPr marL="309245" marR="133985" indent="-169545">
              <a:lnSpc>
                <a:spcPts val="910"/>
              </a:lnSpc>
              <a:spcBef>
                <a:spcPts val="65"/>
              </a:spcBef>
            </a:pPr>
            <a:r>
              <a:rPr sz="800" spc="-30">
                <a:latin typeface="Trebuchet MS"/>
                <a:cs typeface="Trebuchet MS"/>
              </a:rPr>
              <a:t>Processing </a:t>
            </a:r>
            <a:r>
              <a:rPr sz="800" spc="-35">
                <a:latin typeface="Trebuchet MS"/>
                <a:cs typeface="Trebuchet MS"/>
              </a:rPr>
              <a:t>(Spark  Platform)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6681165" y="3059315"/>
            <a:ext cx="1017905" cy="53276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82880">
              <a:lnSpc>
                <a:spcPts val="960"/>
              </a:lnSpc>
            </a:pPr>
            <a:r>
              <a:rPr sz="800" spc="-30">
                <a:latin typeface="Trebuchet MS"/>
                <a:cs typeface="Trebuchet MS"/>
              </a:rPr>
              <a:t>Transformation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86" name="object 86"/>
          <p:cNvGrpSpPr/>
          <p:nvPr/>
        </p:nvGrpSpPr>
        <p:grpSpPr>
          <a:xfrm>
            <a:off x="7986661" y="2016112"/>
            <a:ext cx="1936114" cy="3324860"/>
            <a:chOff x="7986661" y="2016112"/>
            <a:chExt cx="1936114" cy="3324860"/>
          </a:xfrm>
        </p:grpSpPr>
        <p:sp>
          <p:nvSpPr>
            <p:cNvPr id="87" name="object 87"/>
            <p:cNvSpPr/>
            <p:nvPr/>
          </p:nvSpPr>
          <p:spPr>
            <a:xfrm>
              <a:off x="8741054" y="2690723"/>
              <a:ext cx="195783" cy="762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9027845" y="2416213"/>
              <a:ext cx="890269" cy="252095"/>
            </a:xfrm>
            <a:custGeom>
              <a:avLst/>
              <a:gdLst/>
              <a:ahLst/>
              <a:cxnLst/>
              <a:rect l="l" t="t" r="r" b="b"/>
              <a:pathLst>
                <a:path w="890270" h="252094">
                  <a:moveTo>
                    <a:pt x="0" y="0"/>
                  </a:moveTo>
                  <a:lnTo>
                    <a:pt x="889892" y="0"/>
                  </a:lnTo>
                  <a:lnTo>
                    <a:pt x="889892" y="251853"/>
                  </a:lnTo>
                  <a:lnTo>
                    <a:pt x="0" y="25185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9027845" y="2792513"/>
              <a:ext cx="890269" cy="252095"/>
            </a:xfrm>
            <a:custGeom>
              <a:avLst/>
              <a:gdLst/>
              <a:ahLst/>
              <a:cxnLst/>
              <a:rect l="l" t="t" r="r" b="b"/>
              <a:pathLst>
                <a:path w="890270" h="252094">
                  <a:moveTo>
                    <a:pt x="0" y="0"/>
                  </a:moveTo>
                  <a:lnTo>
                    <a:pt x="889892" y="0"/>
                  </a:lnTo>
                  <a:lnTo>
                    <a:pt x="889892" y="251853"/>
                  </a:lnTo>
                  <a:lnTo>
                    <a:pt x="0" y="25185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991423" y="4201109"/>
              <a:ext cx="729615" cy="1135380"/>
            </a:xfrm>
            <a:custGeom>
              <a:avLst/>
              <a:gdLst/>
              <a:ahLst/>
              <a:cxnLst/>
              <a:rect l="l" t="t" r="r" b="b"/>
              <a:pathLst>
                <a:path w="729615" h="1135379">
                  <a:moveTo>
                    <a:pt x="729615" y="0"/>
                  </a:moveTo>
                  <a:lnTo>
                    <a:pt x="0" y="0"/>
                  </a:lnTo>
                  <a:lnTo>
                    <a:pt x="0" y="1134808"/>
                  </a:lnTo>
                  <a:lnTo>
                    <a:pt x="729615" y="1134808"/>
                  </a:lnTo>
                  <a:lnTo>
                    <a:pt x="7296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7991423" y="4201109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0" y="0"/>
                  </a:moveTo>
                  <a:lnTo>
                    <a:pt x="729625" y="0"/>
                  </a:lnTo>
                  <a:lnTo>
                    <a:pt x="729625" y="1134810"/>
                  </a:lnTo>
                  <a:lnTo>
                    <a:pt x="0" y="11348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8011426" y="2161412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729627" y="0"/>
                  </a:moveTo>
                  <a:lnTo>
                    <a:pt x="0" y="0"/>
                  </a:lnTo>
                  <a:lnTo>
                    <a:pt x="0" y="1134808"/>
                  </a:lnTo>
                  <a:lnTo>
                    <a:pt x="729627" y="1134808"/>
                  </a:lnTo>
                  <a:lnTo>
                    <a:pt x="7296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8011426" y="2161412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0" y="0"/>
                  </a:moveTo>
                  <a:lnTo>
                    <a:pt x="729625" y="0"/>
                  </a:lnTo>
                  <a:lnTo>
                    <a:pt x="729625" y="1134810"/>
                  </a:lnTo>
                  <a:lnTo>
                    <a:pt x="0" y="11348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8058060" y="2016112"/>
              <a:ext cx="610870" cy="252729"/>
            </a:xfrm>
            <a:custGeom>
              <a:avLst/>
              <a:gdLst/>
              <a:ahLst/>
              <a:cxnLst/>
              <a:rect l="l" t="t" r="r" b="b"/>
              <a:pathLst>
                <a:path w="610870" h="252730">
                  <a:moveTo>
                    <a:pt x="610488" y="0"/>
                  </a:moveTo>
                  <a:lnTo>
                    <a:pt x="0" y="0"/>
                  </a:lnTo>
                  <a:lnTo>
                    <a:pt x="0" y="252310"/>
                  </a:lnTo>
                  <a:lnTo>
                    <a:pt x="610488" y="252310"/>
                  </a:lnTo>
                  <a:lnTo>
                    <a:pt x="6104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5" name="object 95"/>
          <p:cNvSpPr txBox="1"/>
          <p:nvPr/>
        </p:nvSpPr>
        <p:spPr>
          <a:xfrm>
            <a:off x="8191855" y="2027427"/>
            <a:ext cx="492836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lang="nb-NO"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65" err="1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70" err="1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35" err="1">
                <a:solidFill>
                  <a:srgbClr val="6C03A8"/>
                </a:solidFill>
                <a:latin typeface="Trebuchet MS"/>
                <a:cs typeface="Trebuchet MS"/>
              </a:rPr>
              <a:t>m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8054885" y="2352395"/>
            <a:ext cx="643255" cy="6559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122555" marR="115570" indent="-635" algn="ctr">
              <a:lnSpc>
                <a:spcPct val="98700"/>
              </a:lnSpc>
              <a:spcBef>
                <a:spcPts val="10"/>
              </a:spcBef>
            </a:pPr>
            <a:r>
              <a:rPr sz="800" spc="-35">
                <a:latin typeface="Trebuchet MS"/>
                <a:cs typeface="Trebuchet MS"/>
              </a:rPr>
              <a:t>Stream  p</a:t>
            </a:r>
            <a:r>
              <a:rPr sz="800" spc="-20">
                <a:latin typeface="Trebuchet MS"/>
                <a:cs typeface="Trebuchet MS"/>
              </a:rPr>
              <a:t>r</a:t>
            </a:r>
            <a:r>
              <a:rPr sz="800" spc="-10">
                <a:latin typeface="Trebuchet MS"/>
                <a:cs typeface="Trebuchet MS"/>
              </a:rPr>
              <a:t>o</a:t>
            </a:r>
            <a:r>
              <a:rPr sz="800" spc="-50">
                <a:latin typeface="Trebuchet MS"/>
                <a:cs typeface="Trebuchet MS"/>
              </a:rPr>
              <a:t>c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20">
                <a:latin typeface="Trebuchet MS"/>
                <a:cs typeface="Trebuchet MS"/>
              </a:rPr>
              <a:t>ss</a:t>
            </a:r>
            <a:r>
              <a:rPr sz="800" spc="-45">
                <a:latin typeface="Trebuchet MS"/>
                <a:cs typeface="Trebuchet MS"/>
              </a:rPr>
              <a:t>i</a:t>
            </a:r>
            <a:r>
              <a:rPr sz="800" spc="-15">
                <a:latin typeface="Trebuchet MS"/>
                <a:cs typeface="Trebuchet MS"/>
              </a:rPr>
              <a:t>n  </a:t>
            </a:r>
            <a:r>
              <a:rPr sz="800" spc="-25">
                <a:latin typeface="Trebuchet MS"/>
                <a:cs typeface="Trebuchet MS"/>
              </a:rPr>
              <a:t>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8051825" y="4045965"/>
            <a:ext cx="610870" cy="25272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24130" rIns="0" bIns="0" rtlCol="0">
            <a:spAutoFit/>
          </a:bodyPr>
          <a:lstStyle/>
          <a:p>
            <a:pPr marL="120014">
              <a:lnSpc>
                <a:spcPct val="100000"/>
              </a:lnSpc>
              <a:spcBef>
                <a:spcPts val="190"/>
              </a:spcBef>
            </a:pP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Serving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8047431" y="4330737"/>
            <a:ext cx="610870" cy="29083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51130">
              <a:lnSpc>
                <a:spcPts val="955"/>
              </a:lnSpc>
            </a:pPr>
            <a:r>
              <a:rPr sz="800" spc="-30">
                <a:latin typeface="Trebuchet MS"/>
                <a:cs typeface="Trebuchet MS"/>
              </a:rPr>
              <a:t>Serv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836039" y="3857281"/>
            <a:ext cx="559435" cy="189230"/>
          </a:xfrm>
          <a:custGeom>
            <a:avLst/>
            <a:gdLst/>
            <a:ahLst/>
            <a:cxnLst/>
            <a:rect l="l" t="t" r="r" b="b"/>
            <a:pathLst>
              <a:path w="559434" h="189229">
                <a:moveTo>
                  <a:pt x="514692" y="112483"/>
                </a:moveTo>
                <a:lnTo>
                  <a:pt x="482942" y="112483"/>
                </a:lnTo>
                <a:lnTo>
                  <a:pt x="521042" y="188683"/>
                </a:lnTo>
                <a:lnTo>
                  <a:pt x="552792" y="125183"/>
                </a:lnTo>
                <a:lnTo>
                  <a:pt x="514692" y="125183"/>
                </a:lnTo>
                <a:lnTo>
                  <a:pt x="514692" y="112483"/>
                </a:lnTo>
                <a:close/>
              </a:path>
              <a:path w="559434" h="189229">
                <a:moveTo>
                  <a:pt x="514692" y="6350"/>
                </a:moveTo>
                <a:lnTo>
                  <a:pt x="514692" y="125183"/>
                </a:lnTo>
                <a:lnTo>
                  <a:pt x="527392" y="125183"/>
                </a:lnTo>
                <a:lnTo>
                  <a:pt x="527392" y="12700"/>
                </a:lnTo>
                <a:lnTo>
                  <a:pt x="521042" y="12700"/>
                </a:lnTo>
                <a:lnTo>
                  <a:pt x="514692" y="6350"/>
                </a:lnTo>
                <a:close/>
              </a:path>
              <a:path w="559434" h="189229">
                <a:moveTo>
                  <a:pt x="559142" y="112483"/>
                </a:moveTo>
                <a:lnTo>
                  <a:pt x="527392" y="112483"/>
                </a:lnTo>
                <a:lnTo>
                  <a:pt x="527392" y="125183"/>
                </a:lnTo>
                <a:lnTo>
                  <a:pt x="552792" y="125183"/>
                </a:lnTo>
                <a:lnTo>
                  <a:pt x="559142" y="112483"/>
                </a:lnTo>
                <a:close/>
              </a:path>
              <a:path w="559434" h="189229">
                <a:moveTo>
                  <a:pt x="524548" y="0"/>
                </a:moveTo>
                <a:lnTo>
                  <a:pt x="0" y="0"/>
                </a:lnTo>
                <a:lnTo>
                  <a:pt x="0" y="12700"/>
                </a:lnTo>
                <a:lnTo>
                  <a:pt x="514692" y="12700"/>
                </a:lnTo>
                <a:lnTo>
                  <a:pt x="514692" y="6350"/>
                </a:lnTo>
                <a:lnTo>
                  <a:pt x="527392" y="6350"/>
                </a:lnTo>
                <a:lnTo>
                  <a:pt x="527392" y="2844"/>
                </a:lnTo>
                <a:lnTo>
                  <a:pt x="524548" y="0"/>
                </a:lnTo>
                <a:close/>
              </a:path>
              <a:path w="559434" h="189229">
                <a:moveTo>
                  <a:pt x="527392" y="6350"/>
                </a:moveTo>
                <a:lnTo>
                  <a:pt x="514692" y="6350"/>
                </a:lnTo>
                <a:lnTo>
                  <a:pt x="521042" y="12700"/>
                </a:lnTo>
                <a:lnTo>
                  <a:pt x="527392" y="12700"/>
                </a:lnTo>
                <a:lnTo>
                  <a:pt x="527392" y="6350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5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774065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114">
                <a:solidFill>
                  <a:srgbClr val="FFFFFF"/>
                </a:solidFill>
              </a:rPr>
              <a:t>MLOps </a:t>
            </a:r>
            <a:r>
              <a:rPr sz="4400" spc="-10">
                <a:solidFill>
                  <a:srgbClr val="FFFFFF"/>
                </a:solidFill>
              </a:rPr>
              <a:t>&amp;</a:t>
            </a:r>
            <a:r>
              <a:rPr sz="4400" spc="-925">
                <a:solidFill>
                  <a:srgbClr val="FFFFFF"/>
                </a:solidFill>
              </a:rPr>
              <a:t> </a:t>
            </a:r>
            <a:r>
              <a:rPr sz="4400" spc="-180">
                <a:solidFill>
                  <a:srgbClr val="FFFFFF"/>
                </a:solidFill>
              </a:rPr>
              <a:t>Data </a:t>
            </a:r>
            <a:r>
              <a:rPr sz="4400" spc="-229">
                <a:solidFill>
                  <a:srgbClr val="FFFFFF"/>
                </a:solidFill>
              </a:rPr>
              <a:t>platform </a:t>
            </a:r>
            <a:r>
              <a:rPr sz="4400" spc="-220">
                <a:solidFill>
                  <a:srgbClr val="FFFFFF"/>
                </a:solidFill>
              </a:rPr>
              <a:t>at </a:t>
            </a:r>
            <a:r>
              <a:rPr sz="4400" spc="-265">
                <a:solidFill>
                  <a:srgbClr val="FFFFFF"/>
                </a:solidFill>
              </a:rPr>
              <a:t>Plaace</a:t>
            </a:r>
            <a:endParaRPr sz="440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038850" y="6474849"/>
            <a:ext cx="1143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35"/>
              </a:lnSpc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27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77"/>
            <a:ext cx="12192000" cy="68578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662244" y="195237"/>
            <a:ext cx="9089390" cy="1112520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2700" marR="5080">
              <a:lnSpc>
                <a:spcPct val="102899"/>
              </a:lnSpc>
              <a:spcBef>
                <a:spcPts val="5"/>
              </a:spcBef>
            </a:pPr>
            <a:r>
              <a:rPr sz="3500" b="0" spc="20">
                <a:solidFill>
                  <a:srgbClr val="FFFFFF"/>
                </a:solidFill>
                <a:latin typeface="Arial"/>
                <a:cs typeface="Arial"/>
              </a:rPr>
              <a:t>Plaace: </a:t>
            </a:r>
            <a:r>
              <a:rPr sz="3500" b="0" spc="40">
                <a:solidFill>
                  <a:srgbClr val="FFFFFF"/>
                </a:solidFill>
                <a:latin typeface="Arial"/>
                <a:cs typeface="Arial"/>
              </a:rPr>
              <a:t>neste </a:t>
            </a:r>
            <a:r>
              <a:rPr sz="3500" b="0" spc="30">
                <a:solidFill>
                  <a:srgbClr val="FFFFFF"/>
                </a:solidFill>
                <a:latin typeface="Arial"/>
                <a:cs typeface="Arial"/>
              </a:rPr>
              <a:t>generasjon </a:t>
            </a:r>
            <a:r>
              <a:rPr sz="3500" b="0" spc="120">
                <a:solidFill>
                  <a:srgbClr val="FFFFFF"/>
                </a:solidFill>
                <a:latin typeface="Arial"/>
                <a:cs typeface="Arial"/>
              </a:rPr>
              <a:t>matching</a:t>
            </a:r>
            <a:r>
              <a:rPr sz="3500" b="0" spc="-13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3500" b="0" spc="165">
                <a:solidFill>
                  <a:srgbClr val="FFFFFF"/>
                </a:solidFill>
                <a:latin typeface="Arial"/>
                <a:cs typeface="Arial"/>
              </a:rPr>
              <a:t>platform  </a:t>
            </a:r>
            <a:r>
              <a:rPr sz="3500" b="0" spc="170">
                <a:solidFill>
                  <a:srgbClr val="FFFFFF"/>
                </a:solidFill>
                <a:latin typeface="Arial"/>
                <a:cs typeface="Arial"/>
              </a:rPr>
              <a:t>for </a:t>
            </a:r>
            <a:r>
              <a:rPr sz="3500" b="0" spc="65">
                <a:solidFill>
                  <a:srgbClr val="FFFFFF"/>
                </a:solidFill>
                <a:latin typeface="Arial"/>
                <a:cs typeface="Arial"/>
              </a:rPr>
              <a:t>retail</a:t>
            </a:r>
            <a:r>
              <a:rPr sz="3500" b="0" spc="-15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3500" b="0" spc="140">
                <a:solidFill>
                  <a:srgbClr val="FFFFFF"/>
                </a:solidFill>
                <a:latin typeface="Arial"/>
                <a:cs typeface="Arial"/>
              </a:rPr>
              <a:t>property</a:t>
            </a:r>
            <a:endParaRPr sz="3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355001" y="1918360"/>
            <a:ext cx="2177415" cy="1110615"/>
          </a:xfrm>
          <a:custGeom>
            <a:avLst/>
            <a:gdLst/>
            <a:ahLst/>
            <a:cxnLst/>
            <a:rect l="l" t="t" r="r" b="b"/>
            <a:pathLst>
              <a:path w="2177415" h="1110614">
                <a:moveTo>
                  <a:pt x="1992083" y="0"/>
                </a:moveTo>
                <a:lnTo>
                  <a:pt x="185064" y="0"/>
                </a:lnTo>
                <a:lnTo>
                  <a:pt x="135866" y="6610"/>
                </a:lnTo>
                <a:lnTo>
                  <a:pt x="91658" y="25266"/>
                </a:lnTo>
                <a:lnTo>
                  <a:pt x="54203" y="54203"/>
                </a:lnTo>
                <a:lnTo>
                  <a:pt x="25266" y="91658"/>
                </a:lnTo>
                <a:lnTo>
                  <a:pt x="6610" y="135866"/>
                </a:lnTo>
                <a:lnTo>
                  <a:pt x="0" y="185064"/>
                </a:lnTo>
                <a:lnTo>
                  <a:pt x="0" y="925283"/>
                </a:lnTo>
                <a:lnTo>
                  <a:pt x="6610" y="974476"/>
                </a:lnTo>
                <a:lnTo>
                  <a:pt x="25266" y="1018681"/>
                </a:lnTo>
                <a:lnTo>
                  <a:pt x="54203" y="1056133"/>
                </a:lnTo>
                <a:lnTo>
                  <a:pt x="91658" y="1085069"/>
                </a:lnTo>
                <a:lnTo>
                  <a:pt x="135866" y="1103725"/>
                </a:lnTo>
                <a:lnTo>
                  <a:pt x="185064" y="1110335"/>
                </a:lnTo>
                <a:lnTo>
                  <a:pt x="1992083" y="1110335"/>
                </a:lnTo>
                <a:lnTo>
                  <a:pt x="2041281" y="1103725"/>
                </a:lnTo>
                <a:lnTo>
                  <a:pt x="2085490" y="1085069"/>
                </a:lnTo>
                <a:lnTo>
                  <a:pt x="2122944" y="1056133"/>
                </a:lnTo>
                <a:lnTo>
                  <a:pt x="2151881" y="1018681"/>
                </a:lnTo>
                <a:lnTo>
                  <a:pt x="2170537" y="974476"/>
                </a:lnTo>
                <a:lnTo>
                  <a:pt x="2177148" y="925283"/>
                </a:lnTo>
                <a:lnTo>
                  <a:pt x="2177148" y="185064"/>
                </a:lnTo>
                <a:lnTo>
                  <a:pt x="2170537" y="135866"/>
                </a:lnTo>
                <a:lnTo>
                  <a:pt x="2151881" y="91658"/>
                </a:lnTo>
                <a:lnTo>
                  <a:pt x="2122944" y="54203"/>
                </a:lnTo>
                <a:lnTo>
                  <a:pt x="2085490" y="25266"/>
                </a:lnTo>
                <a:lnTo>
                  <a:pt x="2041281" y="6610"/>
                </a:lnTo>
                <a:lnTo>
                  <a:pt x="1992083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355001" y="3245180"/>
            <a:ext cx="2177415" cy="1110615"/>
          </a:xfrm>
          <a:custGeom>
            <a:avLst/>
            <a:gdLst/>
            <a:ahLst/>
            <a:cxnLst/>
            <a:rect l="l" t="t" r="r" b="b"/>
            <a:pathLst>
              <a:path w="2177415" h="1110614">
                <a:moveTo>
                  <a:pt x="1992045" y="0"/>
                </a:moveTo>
                <a:lnTo>
                  <a:pt x="185051" y="0"/>
                </a:lnTo>
                <a:lnTo>
                  <a:pt x="135859" y="6610"/>
                </a:lnTo>
                <a:lnTo>
                  <a:pt x="91654" y="25265"/>
                </a:lnTo>
                <a:lnTo>
                  <a:pt x="54202" y="54202"/>
                </a:lnTo>
                <a:lnTo>
                  <a:pt x="25265" y="91654"/>
                </a:lnTo>
                <a:lnTo>
                  <a:pt x="6610" y="135859"/>
                </a:lnTo>
                <a:lnTo>
                  <a:pt x="0" y="185051"/>
                </a:lnTo>
                <a:lnTo>
                  <a:pt x="0" y="925245"/>
                </a:lnTo>
                <a:lnTo>
                  <a:pt x="6610" y="974438"/>
                </a:lnTo>
                <a:lnTo>
                  <a:pt x="25265" y="1018643"/>
                </a:lnTo>
                <a:lnTo>
                  <a:pt x="54202" y="1056095"/>
                </a:lnTo>
                <a:lnTo>
                  <a:pt x="91654" y="1085031"/>
                </a:lnTo>
                <a:lnTo>
                  <a:pt x="135859" y="1103686"/>
                </a:lnTo>
                <a:lnTo>
                  <a:pt x="185051" y="1110297"/>
                </a:lnTo>
                <a:lnTo>
                  <a:pt x="1992045" y="1110297"/>
                </a:lnTo>
                <a:lnTo>
                  <a:pt x="2041242" y="1103686"/>
                </a:lnTo>
                <a:lnTo>
                  <a:pt x="2085448" y="1085031"/>
                </a:lnTo>
                <a:lnTo>
                  <a:pt x="2122900" y="1056095"/>
                </a:lnTo>
                <a:lnTo>
                  <a:pt x="2151834" y="1018643"/>
                </a:lnTo>
                <a:lnTo>
                  <a:pt x="2170487" y="974438"/>
                </a:lnTo>
                <a:lnTo>
                  <a:pt x="2177097" y="925245"/>
                </a:lnTo>
                <a:lnTo>
                  <a:pt x="2177097" y="185051"/>
                </a:lnTo>
                <a:lnTo>
                  <a:pt x="2170487" y="135859"/>
                </a:lnTo>
                <a:lnTo>
                  <a:pt x="2151834" y="91654"/>
                </a:lnTo>
                <a:lnTo>
                  <a:pt x="2122900" y="54202"/>
                </a:lnTo>
                <a:lnTo>
                  <a:pt x="2085448" y="25265"/>
                </a:lnTo>
                <a:lnTo>
                  <a:pt x="2041242" y="6610"/>
                </a:lnTo>
                <a:lnTo>
                  <a:pt x="1992045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355001" y="4572000"/>
            <a:ext cx="2177415" cy="1110615"/>
          </a:xfrm>
          <a:custGeom>
            <a:avLst/>
            <a:gdLst/>
            <a:ahLst/>
            <a:cxnLst/>
            <a:rect l="l" t="t" r="r" b="b"/>
            <a:pathLst>
              <a:path w="2177415" h="1110614">
                <a:moveTo>
                  <a:pt x="1992083" y="0"/>
                </a:moveTo>
                <a:lnTo>
                  <a:pt x="185064" y="0"/>
                </a:lnTo>
                <a:lnTo>
                  <a:pt x="135866" y="6610"/>
                </a:lnTo>
                <a:lnTo>
                  <a:pt x="91658" y="25266"/>
                </a:lnTo>
                <a:lnTo>
                  <a:pt x="54203" y="54203"/>
                </a:lnTo>
                <a:lnTo>
                  <a:pt x="25266" y="91658"/>
                </a:lnTo>
                <a:lnTo>
                  <a:pt x="6610" y="135866"/>
                </a:lnTo>
                <a:lnTo>
                  <a:pt x="0" y="185064"/>
                </a:lnTo>
                <a:lnTo>
                  <a:pt x="0" y="925283"/>
                </a:lnTo>
                <a:lnTo>
                  <a:pt x="6610" y="974478"/>
                </a:lnTo>
                <a:lnTo>
                  <a:pt x="25266" y="1018684"/>
                </a:lnTo>
                <a:lnTo>
                  <a:pt x="54203" y="1056138"/>
                </a:lnTo>
                <a:lnTo>
                  <a:pt x="91658" y="1085074"/>
                </a:lnTo>
                <a:lnTo>
                  <a:pt x="135866" y="1103730"/>
                </a:lnTo>
                <a:lnTo>
                  <a:pt x="185064" y="1110340"/>
                </a:lnTo>
                <a:lnTo>
                  <a:pt x="1992083" y="1110340"/>
                </a:lnTo>
                <a:lnTo>
                  <a:pt x="2041281" y="1103730"/>
                </a:lnTo>
                <a:lnTo>
                  <a:pt x="2085490" y="1085074"/>
                </a:lnTo>
                <a:lnTo>
                  <a:pt x="2122944" y="1056138"/>
                </a:lnTo>
                <a:lnTo>
                  <a:pt x="2151881" y="1018684"/>
                </a:lnTo>
                <a:lnTo>
                  <a:pt x="2170537" y="974478"/>
                </a:lnTo>
                <a:lnTo>
                  <a:pt x="2177148" y="925283"/>
                </a:lnTo>
                <a:lnTo>
                  <a:pt x="2177148" y="185064"/>
                </a:lnTo>
                <a:lnTo>
                  <a:pt x="2170537" y="135866"/>
                </a:lnTo>
                <a:lnTo>
                  <a:pt x="2151881" y="91658"/>
                </a:lnTo>
                <a:lnTo>
                  <a:pt x="2122944" y="54203"/>
                </a:lnTo>
                <a:lnTo>
                  <a:pt x="2085490" y="25266"/>
                </a:lnTo>
                <a:lnTo>
                  <a:pt x="2041281" y="6610"/>
                </a:lnTo>
                <a:lnTo>
                  <a:pt x="1992083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160264" y="4419600"/>
            <a:ext cx="1399032" cy="12557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1601673" y="2013889"/>
            <a:ext cx="437515" cy="439420"/>
            <a:chOff x="1601673" y="2013889"/>
            <a:chExt cx="437515" cy="439420"/>
          </a:xfrm>
        </p:grpSpPr>
        <p:sp>
          <p:nvSpPr>
            <p:cNvPr id="7" name="object 7"/>
            <p:cNvSpPr/>
            <p:nvPr/>
          </p:nvSpPr>
          <p:spPr>
            <a:xfrm>
              <a:off x="1612391" y="2023872"/>
              <a:ext cx="414528" cy="41757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14373" y="2026589"/>
              <a:ext cx="412115" cy="414020"/>
            </a:xfrm>
            <a:custGeom>
              <a:avLst/>
              <a:gdLst/>
              <a:ahLst/>
              <a:cxnLst/>
              <a:rect l="l" t="t" r="r" b="b"/>
              <a:pathLst>
                <a:path w="412114" h="414019">
                  <a:moveTo>
                    <a:pt x="0" y="206734"/>
                  </a:moveTo>
                  <a:lnTo>
                    <a:pt x="5441" y="159331"/>
                  </a:lnTo>
                  <a:lnTo>
                    <a:pt x="20942" y="115817"/>
                  </a:lnTo>
                  <a:lnTo>
                    <a:pt x="45265" y="77432"/>
                  </a:lnTo>
                  <a:lnTo>
                    <a:pt x="77174" y="45417"/>
                  </a:lnTo>
                  <a:lnTo>
                    <a:pt x="115431" y="21012"/>
                  </a:lnTo>
                  <a:lnTo>
                    <a:pt x="158800" y="5460"/>
                  </a:lnTo>
                  <a:lnTo>
                    <a:pt x="206044" y="0"/>
                  </a:lnTo>
                  <a:lnTo>
                    <a:pt x="253288" y="5460"/>
                  </a:lnTo>
                  <a:lnTo>
                    <a:pt x="296657" y="21012"/>
                  </a:lnTo>
                  <a:lnTo>
                    <a:pt x="334915" y="45417"/>
                  </a:lnTo>
                  <a:lnTo>
                    <a:pt x="366823" y="77432"/>
                  </a:lnTo>
                  <a:lnTo>
                    <a:pt x="391146" y="115817"/>
                  </a:lnTo>
                  <a:lnTo>
                    <a:pt x="406647" y="159331"/>
                  </a:lnTo>
                  <a:lnTo>
                    <a:pt x="412089" y="206734"/>
                  </a:lnTo>
                  <a:lnTo>
                    <a:pt x="406647" y="254136"/>
                  </a:lnTo>
                  <a:lnTo>
                    <a:pt x="391146" y="297651"/>
                  </a:lnTo>
                  <a:lnTo>
                    <a:pt x="366823" y="336036"/>
                  </a:lnTo>
                  <a:lnTo>
                    <a:pt x="334915" y="368051"/>
                  </a:lnTo>
                  <a:lnTo>
                    <a:pt x="296657" y="392456"/>
                  </a:lnTo>
                  <a:lnTo>
                    <a:pt x="253288" y="408009"/>
                  </a:lnTo>
                  <a:lnTo>
                    <a:pt x="206044" y="413469"/>
                  </a:lnTo>
                  <a:lnTo>
                    <a:pt x="158800" y="408009"/>
                  </a:lnTo>
                  <a:lnTo>
                    <a:pt x="115431" y="392456"/>
                  </a:lnTo>
                  <a:lnTo>
                    <a:pt x="77174" y="368051"/>
                  </a:lnTo>
                  <a:lnTo>
                    <a:pt x="45265" y="336036"/>
                  </a:lnTo>
                  <a:lnTo>
                    <a:pt x="20942" y="297651"/>
                  </a:lnTo>
                  <a:lnTo>
                    <a:pt x="5441" y="254136"/>
                  </a:lnTo>
                  <a:lnTo>
                    <a:pt x="0" y="206734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2244089" y="2537853"/>
            <a:ext cx="441959" cy="431165"/>
            <a:chOff x="2244089" y="2537853"/>
            <a:chExt cx="441959" cy="431165"/>
          </a:xfrm>
        </p:grpSpPr>
        <p:sp>
          <p:nvSpPr>
            <p:cNvPr id="10" name="object 10"/>
            <p:cNvSpPr/>
            <p:nvPr/>
          </p:nvSpPr>
          <p:spPr>
            <a:xfrm>
              <a:off x="2255519" y="2548127"/>
              <a:ext cx="417575" cy="4084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256789" y="2550553"/>
              <a:ext cx="416559" cy="405765"/>
            </a:xfrm>
            <a:custGeom>
              <a:avLst/>
              <a:gdLst/>
              <a:ahLst/>
              <a:cxnLst/>
              <a:rect l="l" t="t" r="r" b="b"/>
              <a:pathLst>
                <a:path w="416560" h="405764">
                  <a:moveTo>
                    <a:pt x="0" y="202835"/>
                  </a:moveTo>
                  <a:lnTo>
                    <a:pt x="5495" y="156326"/>
                  </a:lnTo>
                  <a:lnTo>
                    <a:pt x="21148" y="113633"/>
                  </a:lnTo>
                  <a:lnTo>
                    <a:pt x="45709" y="75972"/>
                  </a:lnTo>
                  <a:lnTo>
                    <a:pt x="77931" y="44560"/>
                  </a:lnTo>
                  <a:lnTo>
                    <a:pt x="116563" y="20616"/>
                  </a:lnTo>
                  <a:lnTo>
                    <a:pt x="160357" y="5357"/>
                  </a:lnTo>
                  <a:lnTo>
                    <a:pt x="208065" y="0"/>
                  </a:lnTo>
                  <a:lnTo>
                    <a:pt x="255772" y="5357"/>
                  </a:lnTo>
                  <a:lnTo>
                    <a:pt x="299567" y="20616"/>
                  </a:lnTo>
                  <a:lnTo>
                    <a:pt x="338199" y="44560"/>
                  </a:lnTo>
                  <a:lnTo>
                    <a:pt x="370421" y="75972"/>
                  </a:lnTo>
                  <a:lnTo>
                    <a:pt x="394983" y="113633"/>
                  </a:lnTo>
                  <a:lnTo>
                    <a:pt x="410636" y="156326"/>
                  </a:lnTo>
                  <a:lnTo>
                    <a:pt x="416131" y="202835"/>
                  </a:lnTo>
                  <a:lnTo>
                    <a:pt x="410636" y="249343"/>
                  </a:lnTo>
                  <a:lnTo>
                    <a:pt x="394983" y="292037"/>
                  </a:lnTo>
                  <a:lnTo>
                    <a:pt x="370421" y="329698"/>
                  </a:lnTo>
                  <a:lnTo>
                    <a:pt x="338199" y="361110"/>
                  </a:lnTo>
                  <a:lnTo>
                    <a:pt x="299567" y="385054"/>
                  </a:lnTo>
                  <a:lnTo>
                    <a:pt x="255772" y="400314"/>
                  </a:lnTo>
                  <a:lnTo>
                    <a:pt x="208065" y="405671"/>
                  </a:lnTo>
                  <a:lnTo>
                    <a:pt x="160357" y="400314"/>
                  </a:lnTo>
                  <a:lnTo>
                    <a:pt x="116563" y="385054"/>
                  </a:lnTo>
                  <a:lnTo>
                    <a:pt x="77931" y="361110"/>
                  </a:lnTo>
                  <a:lnTo>
                    <a:pt x="45709" y="329698"/>
                  </a:lnTo>
                  <a:lnTo>
                    <a:pt x="21148" y="292037"/>
                  </a:lnTo>
                  <a:lnTo>
                    <a:pt x="5495" y="249343"/>
                  </a:lnTo>
                  <a:lnTo>
                    <a:pt x="0" y="202835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2251748" y="2007374"/>
            <a:ext cx="438784" cy="439420"/>
            <a:chOff x="2251748" y="2007374"/>
            <a:chExt cx="438784" cy="439420"/>
          </a:xfrm>
        </p:grpSpPr>
        <p:sp>
          <p:nvSpPr>
            <p:cNvPr id="13" name="object 13"/>
            <p:cNvSpPr/>
            <p:nvPr/>
          </p:nvSpPr>
          <p:spPr>
            <a:xfrm>
              <a:off x="2261615" y="2017776"/>
              <a:ext cx="417575" cy="41757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264448" y="2020074"/>
              <a:ext cx="413384" cy="414020"/>
            </a:xfrm>
            <a:custGeom>
              <a:avLst/>
              <a:gdLst/>
              <a:ahLst/>
              <a:cxnLst/>
              <a:rect l="l" t="t" r="r" b="b"/>
              <a:pathLst>
                <a:path w="413385" h="414019">
                  <a:moveTo>
                    <a:pt x="0" y="206734"/>
                  </a:moveTo>
                  <a:lnTo>
                    <a:pt x="5454" y="159331"/>
                  </a:lnTo>
                  <a:lnTo>
                    <a:pt x="20991" y="115817"/>
                  </a:lnTo>
                  <a:lnTo>
                    <a:pt x="45371" y="77432"/>
                  </a:lnTo>
                  <a:lnTo>
                    <a:pt x="77354" y="45417"/>
                  </a:lnTo>
                  <a:lnTo>
                    <a:pt x="115701" y="21012"/>
                  </a:lnTo>
                  <a:lnTo>
                    <a:pt x="159171" y="5460"/>
                  </a:lnTo>
                  <a:lnTo>
                    <a:pt x="206526" y="0"/>
                  </a:lnTo>
                  <a:lnTo>
                    <a:pt x="253880" y="5460"/>
                  </a:lnTo>
                  <a:lnTo>
                    <a:pt x="297351" y="21012"/>
                  </a:lnTo>
                  <a:lnTo>
                    <a:pt x="335698" y="45417"/>
                  </a:lnTo>
                  <a:lnTo>
                    <a:pt x="367681" y="77432"/>
                  </a:lnTo>
                  <a:lnTo>
                    <a:pt x="392061" y="115817"/>
                  </a:lnTo>
                  <a:lnTo>
                    <a:pt x="407598" y="159331"/>
                  </a:lnTo>
                  <a:lnTo>
                    <a:pt x="413053" y="206734"/>
                  </a:lnTo>
                  <a:lnTo>
                    <a:pt x="407598" y="254136"/>
                  </a:lnTo>
                  <a:lnTo>
                    <a:pt x="392061" y="297651"/>
                  </a:lnTo>
                  <a:lnTo>
                    <a:pt x="367681" y="336036"/>
                  </a:lnTo>
                  <a:lnTo>
                    <a:pt x="335698" y="368051"/>
                  </a:lnTo>
                  <a:lnTo>
                    <a:pt x="297351" y="392456"/>
                  </a:lnTo>
                  <a:lnTo>
                    <a:pt x="253880" y="408009"/>
                  </a:lnTo>
                  <a:lnTo>
                    <a:pt x="206526" y="413469"/>
                  </a:lnTo>
                  <a:lnTo>
                    <a:pt x="159171" y="408009"/>
                  </a:lnTo>
                  <a:lnTo>
                    <a:pt x="115701" y="392456"/>
                  </a:lnTo>
                  <a:lnTo>
                    <a:pt x="77354" y="368051"/>
                  </a:lnTo>
                  <a:lnTo>
                    <a:pt x="45371" y="336036"/>
                  </a:lnTo>
                  <a:lnTo>
                    <a:pt x="20991" y="297651"/>
                  </a:lnTo>
                  <a:lnTo>
                    <a:pt x="5454" y="254136"/>
                  </a:lnTo>
                  <a:lnTo>
                    <a:pt x="0" y="206734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8711183" y="2813304"/>
            <a:ext cx="2642616" cy="17586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6" name="object 16"/>
          <p:cNvGrpSpPr/>
          <p:nvPr/>
        </p:nvGrpSpPr>
        <p:grpSpPr>
          <a:xfrm>
            <a:off x="1987295" y="4675632"/>
            <a:ext cx="917575" cy="917575"/>
            <a:chOff x="1987295" y="4675632"/>
            <a:chExt cx="917575" cy="917575"/>
          </a:xfrm>
        </p:grpSpPr>
        <p:sp>
          <p:nvSpPr>
            <p:cNvPr id="17" name="object 17"/>
            <p:cNvSpPr/>
            <p:nvPr/>
          </p:nvSpPr>
          <p:spPr>
            <a:xfrm>
              <a:off x="1987295" y="4675632"/>
              <a:ext cx="917447" cy="91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2148839" y="4818888"/>
              <a:ext cx="405384" cy="44500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2044725" y="1440180"/>
            <a:ext cx="65214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60">
                <a:latin typeface="Trebuchet MS"/>
                <a:cs typeface="Trebuchet MS"/>
              </a:rPr>
              <a:t>I</a:t>
            </a:r>
            <a:r>
              <a:rPr sz="2000" spc="114">
                <a:latin typeface="Trebuchet MS"/>
                <a:cs typeface="Trebuchet MS"/>
              </a:rPr>
              <a:t>n</a:t>
            </a:r>
            <a:r>
              <a:rPr sz="2000" spc="70">
                <a:latin typeface="Trebuchet MS"/>
                <a:cs typeface="Trebuchet MS"/>
              </a:rPr>
              <a:t>p</a:t>
            </a:r>
            <a:r>
              <a:rPr sz="2000" spc="80">
                <a:latin typeface="Trebuchet MS"/>
                <a:cs typeface="Trebuchet MS"/>
              </a:rPr>
              <a:t>u</a:t>
            </a:r>
            <a:r>
              <a:rPr sz="2000" spc="-50">
                <a:latin typeface="Trebuchet MS"/>
                <a:cs typeface="Trebuchet MS"/>
              </a:rPr>
              <a:t>t</a:t>
            </a:r>
            <a:endParaRPr sz="2000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805718" y="1424939"/>
            <a:ext cx="2109470" cy="665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89610" marR="5080" indent="-677545">
              <a:lnSpc>
                <a:spcPct val="105000"/>
              </a:lnSpc>
              <a:spcBef>
                <a:spcPts val="100"/>
              </a:spcBef>
            </a:pPr>
            <a:r>
              <a:rPr sz="2000" spc="60">
                <a:latin typeface="Trebuchet MS"/>
                <a:cs typeface="Trebuchet MS"/>
              </a:rPr>
              <a:t>R</a:t>
            </a:r>
            <a:r>
              <a:rPr sz="2000" spc="55">
                <a:latin typeface="Trebuchet MS"/>
                <a:cs typeface="Trebuchet MS"/>
              </a:rPr>
              <a:t>e</a:t>
            </a:r>
            <a:r>
              <a:rPr sz="2000" spc="30">
                <a:latin typeface="Trebuchet MS"/>
                <a:cs typeface="Trebuchet MS"/>
              </a:rPr>
              <a:t>c</a:t>
            </a:r>
            <a:r>
              <a:rPr sz="2000" spc="114">
                <a:latin typeface="Trebuchet MS"/>
                <a:cs typeface="Trebuchet MS"/>
              </a:rPr>
              <a:t>o</a:t>
            </a:r>
            <a:r>
              <a:rPr sz="2000" spc="170">
                <a:latin typeface="Trebuchet MS"/>
                <a:cs typeface="Trebuchet MS"/>
              </a:rPr>
              <a:t>m</a:t>
            </a:r>
            <a:r>
              <a:rPr sz="2000" spc="185">
                <a:latin typeface="Trebuchet MS"/>
                <a:cs typeface="Trebuchet MS"/>
              </a:rPr>
              <a:t>m</a:t>
            </a:r>
            <a:r>
              <a:rPr sz="2000" spc="-80">
                <a:latin typeface="Trebuchet MS"/>
                <a:cs typeface="Trebuchet MS"/>
              </a:rPr>
              <a:t>e</a:t>
            </a:r>
            <a:r>
              <a:rPr sz="2000" spc="100">
                <a:latin typeface="Trebuchet MS"/>
                <a:cs typeface="Trebuchet MS"/>
              </a:rPr>
              <a:t>n</a:t>
            </a:r>
            <a:r>
              <a:rPr sz="2000" spc="55">
                <a:latin typeface="Trebuchet MS"/>
                <a:cs typeface="Trebuchet MS"/>
              </a:rPr>
              <a:t>d</a:t>
            </a:r>
            <a:r>
              <a:rPr sz="2000" spc="10">
                <a:latin typeface="Trebuchet MS"/>
                <a:cs typeface="Trebuchet MS"/>
              </a:rPr>
              <a:t>a</a:t>
            </a:r>
            <a:r>
              <a:rPr sz="2000" spc="-35">
                <a:latin typeface="Trebuchet MS"/>
                <a:cs typeface="Trebuchet MS"/>
              </a:rPr>
              <a:t>t</a:t>
            </a:r>
            <a:r>
              <a:rPr sz="2000" spc="-40">
                <a:latin typeface="Trebuchet MS"/>
                <a:cs typeface="Trebuchet MS"/>
              </a:rPr>
              <a:t>i</a:t>
            </a:r>
            <a:r>
              <a:rPr sz="2000" spc="85">
                <a:latin typeface="Trebuchet MS"/>
                <a:cs typeface="Trebuchet MS"/>
              </a:rPr>
              <a:t>on  </a:t>
            </a:r>
            <a:r>
              <a:rPr sz="2000" spc="35">
                <a:latin typeface="Trebuchet MS"/>
                <a:cs typeface="Trebuchet MS"/>
              </a:rPr>
              <a:t>model</a:t>
            </a:r>
            <a:endParaRPr sz="2000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338349" y="1440180"/>
            <a:ext cx="3208020" cy="647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925" marR="5080" indent="-22860">
              <a:lnSpc>
                <a:spcPct val="104000"/>
              </a:lnSpc>
            </a:pPr>
            <a:r>
              <a:rPr sz="2000" spc="80">
                <a:latin typeface="Trebuchet MS"/>
                <a:cs typeface="Trebuchet MS"/>
              </a:rPr>
              <a:t>Recommends</a:t>
            </a:r>
            <a:r>
              <a:rPr sz="2000" spc="-185">
                <a:latin typeface="Trebuchet MS"/>
                <a:cs typeface="Trebuchet MS"/>
              </a:rPr>
              <a:t> </a:t>
            </a:r>
            <a:r>
              <a:rPr sz="2000" spc="45">
                <a:latin typeface="Trebuchet MS"/>
                <a:cs typeface="Trebuchet MS"/>
              </a:rPr>
              <a:t>grunnkretser  </a:t>
            </a:r>
            <a:r>
              <a:rPr sz="2000" spc="5">
                <a:latin typeface="Trebuchet MS"/>
                <a:cs typeface="Trebuchet MS"/>
              </a:rPr>
              <a:t>with </a:t>
            </a:r>
            <a:r>
              <a:rPr sz="2000" spc="35">
                <a:latin typeface="Trebuchet MS"/>
                <a:cs typeface="Trebuchet MS"/>
              </a:rPr>
              <a:t>highest</a:t>
            </a:r>
            <a:r>
              <a:rPr sz="2000" spc="-470">
                <a:latin typeface="Trebuchet MS"/>
                <a:cs typeface="Trebuchet MS"/>
              </a:rPr>
              <a:t> </a:t>
            </a:r>
            <a:r>
              <a:rPr sz="2000" spc="-10">
                <a:latin typeface="Trebuchet MS"/>
                <a:cs typeface="Trebuchet MS"/>
              </a:rPr>
              <a:t>“match” </a:t>
            </a:r>
            <a:r>
              <a:rPr sz="2000" spc="45">
                <a:latin typeface="Trebuchet MS"/>
                <a:cs typeface="Trebuchet MS"/>
              </a:rPr>
              <a:t>score</a:t>
            </a:r>
            <a:endParaRPr sz="2000">
              <a:latin typeface="Trebuchet MS"/>
              <a:cs typeface="Trebuchet M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3694176" y="2438400"/>
            <a:ext cx="1049020" cy="771525"/>
            <a:chOff x="3694176" y="2438400"/>
            <a:chExt cx="1049020" cy="771525"/>
          </a:xfrm>
        </p:grpSpPr>
        <p:sp>
          <p:nvSpPr>
            <p:cNvPr id="23" name="object 23"/>
            <p:cNvSpPr/>
            <p:nvPr/>
          </p:nvSpPr>
          <p:spPr>
            <a:xfrm>
              <a:off x="3694176" y="2438400"/>
              <a:ext cx="1048512" cy="77114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737025" y="2457640"/>
              <a:ext cx="850265" cy="571500"/>
            </a:xfrm>
            <a:custGeom>
              <a:avLst/>
              <a:gdLst/>
              <a:ahLst/>
              <a:cxnLst/>
              <a:rect l="l" t="t" r="r" b="b"/>
              <a:pathLst>
                <a:path w="850264" h="571500">
                  <a:moveTo>
                    <a:pt x="744118" y="523896"/>
                  </a:moveTo>
                  <a:lnTo>
                    <a:pt x="723099" y="555675"/>
                  </a:lnTo>
                  <a:lnTo>
                    <a:pt x="849960" y="571055"/>
                  </a:lnTo>
                  <a:lnTo>
                    <a:pt x="828838" y="534403"/>
                  </a:lnTo>
                  <a:lnTo>
                    <a:pt x="760006" y="534403"/>
                  </a:lnTo>
                  <a:lnTo>
                    <a:pt x="744118" y="523896"/>
                  </a:lnTo>
                  <a:close/>
                </a:path>
                <a:path w="850264" h="571500">
                  <a:moveTo>
                    <a:pt x="765135" y="492119"/>
                  </a:moveTo>
                  <a:lnTo>
                    <a:pt x="744118" y="523896"/>
                  </a:lnTo>
                  <a:lnTo>
                    <a:pt x="760006" y="534403"/>
                  </a:lnTo>
                  <a:lnTo>
                    <a:pt x="781024" y="502627"/>
                  </a:lnTo>
                  <a:lnTo>
                    <a:pt x="765135" y="492119"/>
                  </a:lnTo>
                  <a:close/>
                </a:path>
                <a:path w="850264" h="571500">
                  <a:moveTo>
                    <a:pt x="786155" y="460336"/>
                  </a:moveTo>
                  <a:lnTo>
                    <a:pt x="765135" y="492119"/>
                  </a:lnTo>
                  <a:lnTo>
                    <a:pt x="781024" y="502627"/>
                  </a:lnTo>
                  <a:lnTo>
                    <a:pt x="760006" y="534403"/>
                  </a:lnTo>
                  <a:lnTo>
                    <a:pt x="828838" y="534403"/>
                  </a:lnTo>
                  <a:lnTo>
                    <a:pt x="786155" y="460336"/>
                  </a:lnTo>
                  <a:close/>
                </a:path>
                <a:path w="850264" h="571500">
                  <a:moveTo>
                    <a:pt x="21018" y="0"/>
                  </a:moveTo>
                  <a:lnTo>
                    <a:pt x="0" y="31775"/>
                  </a:lnTo>
                  <a:lnTo>
                    <a:pt x="744118" y="523896"/>
                  </a:lnTo>
                  <a:lnTo>
                    <a:pt x="765135" y="492119"/>
                  </a:lnTo>
                  <a:lnTo>
                    <a:pt x="21018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" name="object 25"/>
          <p:cNvGrpSpPr/>
          <p:nvPr/>
        </p:nvGrpSpPr>
        <p:grpSpPr>
          <a:xfrm>
            <a:off x="3706367" y="3666744"/>
            <a:ext cx="1036319" cy="314325"/>
            <a:chOff x="3706367" y="3666744"/>
            <a:chExt cx="1036319" cy="314325"/>
          </a:xfrm>
        </p:grpSpPr>
        <p:sp>
          <p:nvSpPr>
            <p:cNvPr id="26" name="object 26"/>
            <p:cNvSpPr/>
            <p:nvPr/>
          </p:nvSpPr>
          <p:spPr>
            <a:xfrm>
              <a:off x="3706367" y="3666744"/>
              <a:ext cx="1036319" cy="31394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3747541" y="3743198"/>
              <a:ext cx="839469" cy="114300"/>
            </a:xfrm>
            <a:custGeom>
              <a:avLst/>
              <a:gdLst/>
              <a:ahLst/>
              <a:cxnLst/>
              <a:rect l="l" t="t" r="r" b="b"/>
              <a:pathLst>
                <a:path w="839470" h="114300">
                  <a:moveTo>
                    <a:pt x="725144" y="0"/>
                  </a:moveTo>
                  <a:lnTo>
                    <a:pt x="725144" y="114300"/>
                  </a:lnTo>
                  <a:lnTo>
                    <a:pt x="801344" y="76200"/>
                  </a:lnTo>
                  <a:lnTo>
                    <a:pt x="744194" y="76200"/>
                  </a:lnTo>
                  <a:lnTo>
                    <a:pt x="744194" y="38100"/>
                  </a:lnTo>
                  <a:lnTo>
                    <a:pt x="801344" y="38100"/>
                  </a:lnTo>
                  <a:lnTo>
                    <a:pt x="725144" y="0"/>
                  </a:lnTo>
                  <a:close/>
                </a:path>
                <a:path w="839470" h="114300">
                  <a:moveTo>
                    <a:pt x="725144" y="38100"/>
                  </a:moveTo>
                  <a:lnTo>
                    <a:pt x="0" y="38100"/>
                  </a:lnTo>
                  <a:lnTo>
                    <a:pt x="0" y="76200"/>
                  </a:lnTo>
                  <a:lnTo>
                    <a:pt x="725144" y="76200"/>
                  </a:lnTo>
                  <a:lnTo>
                    <a:pt x="725144" y="38100"/>
                  </a:lnTo>
                  <a:close/>
                </a:path>
                <a:path w="839470" h="114300">
                  <a:moveTo>
                    <a:pt x="801344" y="38100"/>
                  </a:moveTo>
                  <a:lnTo>
                    <a:pt x="744194" y="38100"/>
                  </a:lnTo>
                  <a:lnTo>
                    <a:pt x="744194" y="76200"/>
                  </a:lnTo>
                  <a:lnTo>
                    <a:pt x="801344" y="76200"/>
                  </a:lnTo>
                  <a:lnTo>
                    <a:pt x="839444" y="57150"/>
                  </a:lnTo>
                  <a:lnTo>
                    <a:pt x="801344" y="38100"/>
                  </a:lnTo>
                  <a:close/>
                </a:path>
              </a:pathLst>
            </a:custGeom>
            <a:solidFill>
              <a:srgbClr val="FBC1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3697223" y="4529328"/>
            <a:ext cx="963294" cy="685800"/>
            <a:chOff x="3697223" y="4529328"/>
            <a:chExt cx="963294" cy="685800"/>
          </a:xfrm>
        </p:grpSpPr>
        <p:sp>
          <p:nvSpPr>
            <p:cNvPr id="29" name="object 29"/>
            <p:cNvSpPr/>
            <p:nvPr/>
          </p:nvSpPr>
          <p:spPr>
            <a:xfrm>
              <a:off x="3697223" y="4529328"/>
              <a:ext cx="963168" cy="68580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737470" y="4663465"/>
              <a:ext cx="767080" cy="487680"/>
            </a:xfrm>
            <a:custGeom>
              <a:avLst/>
              <a:gdLst/>
              <a:ahLst/>
              <a:cxnLst/>
              <a:rect l="l" t="t" r="r" b="b"/>
              <a:pathLst>
                <a:path w="767079" h="487679">
                  <a:moveTo>
                    <a:pt x="659693" y="44230"/>
                  </a:moveTo>
                  <a:lnTo>
                    <a:pt x="0" y="454850"/>
                  </a:lnTo>
                  <a:lnTo>
                    <a:pt x="20142" y="487184"/>
                  </a:lnTo>
                  <a:lnTo>
                    <a:pt x="679828" y="76574"/>
                  </a:lnTo>
                  <a:lnTo>
                    <a:pt x="659693" y="44230"/>
                  </a:lnTo>
                  <a:close/>
                </a:path>
                <a:path w="767079" h="487679">
                  <a:moveTo>
                    <a:pt x="745835" y="34162"/>
                  </a:moveTo>
                  <a:lnTo>
                    <a:pt x="675868" y="34162"/>
                  </a:lnTo>
                  <a:lnTo>
                    <a:pt x="695998" y="66509"/>
                  </a:lnTo>
                  <a:lnTo>
                    <a:pt x="679828" y="76574"/>
                  </a:lnTo>
                  <a:lnTo>
                    <a:pt x="699960" y="108915"/>
                  </a:lnTo>
                  <a:lnTo>
                    <a:pt x="745835" y="34162"/>
                  </a:lnTo>
                  <a:close/>
                </a:path>
                <a:path w="767079" h="487679">
                  <a:moveTo>
                    <a:pt x="675868" y="34162"/>
                  </a:moveTo>
                  <a:lnTo>
                    <a:pt x="659693" y="44230"/>
                  </a:lnTo>
                  <a:lnTo>
                    <a:pt x="679828" y="76574"/>
                  </a:lnTo>
                  <a:lnTo>
                    <a:pt x="695998" y="66509"/>
                  </a:lnTo>
                  <a:lnTo>
                    <a:pt x="675868" y="34162"/>
                  </a:lnTo>
                  <a:close/>
                </a:path>
                <a:path w="767079" h="487679">
                  <a:moveTo>
                    <a:pt x="766800" y="0"/>
                  </a:moveTo>
                  <a:lnTo>
                    <a:pt x="639559" y="11887"/>
                  </a:lnTo>
                  <a:lnTo>
                    <a:pt x="659693" y="44230"/>
                  </a:lnTo>
                  <a:lnTo>
                    <a:pt x="675868" y="34162"/>
                  </a:lnTo>
                  <a:lnTo>
                    <a:pt x="745835" y="34162"/>
                  </a:lnTo>
                  <a:lnTo>
                    <a:pt x="766800" y="0"/>
                  </a:lnTo>
                  <a:close/>
                </a:path>
              </a:pathLst>
            </a:custGeom>
            <a:solidFill>
              <a:srgbClr val="3D44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xfrm>
            <a:off x="404865" y="178504"/>
            <a:ext cx="9538335" cy="99758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5080">
              <a:lnSpc>
                <a:spcPts val="3890"/>
              </a:lnSpc>
              <a:spcBef>
                <a:spcPts val="125"/>
              </a:spcBef>
            </a:pPr>
            <a:r>
              <a:rPr sz="3100" b="0" spc="20">
                <a:solidFill>
                  <a:srgbClr val="000000"/>
                </a:solidFill>
                <a:latin typeface="Arial"/>
                <a:cs typeface="Arial"/>
              </a:rPr>
              <a:t>Plaace </a:t>
            </a:r>
            <a:r>
              <a:rPr sz="3100" b="0" spc="90">
                <a:solidFill>
                  <a:srgbClr val="000000"/>
                </a:solidFill>
                <a:latin typeface="Arial"/>
                <a:cs typeface="Arial"/>
              </a:rPr>
              <a:t>develops </a:t>
            </a:r>
            <a:r>
              <a:rPr sz="3100" b="0" spc="195">
                <a:solidFill>
                  <a:srgbClr val="000000"/>
                </a:solidFill>
                <a:latin typeface="Arial"/>
                <a:cs typeface="Arial"/>
              </a:rPr>
              <a:t>automatic </a:t>
            </a:r>
            <a:r>
              <a:rPr sz="3100" b="0" spc="45">
                <a:solidFill>
                  <a:srgbClr val="000000"/>
                </a:solidFill>
                <a:latin typeface="Arial"/>
                <a:cs typeface="Arial"/>
              </a:rPr>
              <a:t>area</a:t>
            </a:r>
            <a:r>
              <a:rPr sz="3100" b="0" spc="-53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nb-NO" sz="3100" b="0" spc="-53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70">
                <a:solidFill>
                  <a:srgbClr val="000000"/>
                </a:solidFill>
                <a:latin typeface="Arial"/>
                <a:cs typeface="Arial"/>
              </a:rPr>
              <a:t>recommendations</a:t>
            </a:r>
            <a:r>
              <a:rPr lang="nb-NO" sz="3100" b="0" spc="17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229">
                <a:solidFill>
                  <a:srgbClr val="000000"/>
                </a:solidFill>
                <a:latin typeface="Arial"/>
                <a:cs typeface="Arial"/>
              </a:rPr>
              <a:t>with </a:t>
            </a:r>
            <a:r>
              <a:rPr sz="3100" b="0" spc="140">
                <a:solidFill>
                  <a:srgbClr val="000000"/>
                </a:solidFill>
                <a:latin typeface="Arial"/>
                <a:cs typeface="Arial"/>
              </a:rPr>
              <a:t>machine</a:t>
            </a:r>
            <a:r>
              <a:rPr sz="3100" b="0" spc="-34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35">
                <a:solidFill>
                  <a:srgbClr val="000000"/>
                </a:solidFill>
                <a:latin typeface="Arial"/>
                <a:cs typeface="Arial"/>
              </a:rPr>
              <a:t>learning</a:t>
            </a:r>
            <a:endParaRPr sz="3100">
              <a:latin typeface="Arial"/>
              <a:cs typeface="Arial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7047204" y="3729088"/>
            <a:ext cx="746760" cy="109855"/>
          </a:xfrm>
          <a:custGeom>
            <a:avLst/>
            <a:gdLst/>
            <a:ahLst/>
            <a:cxnLst/>
            <a:rect l="l" t="t" r="r" b="b"/>
            <a:pathLst>
              <a:path w="746759" h="109854">
                <a:moveTo>
                  <a:pt x="691845" y="0"/>
                </a:moveTo>
                <a:lnTo>
                  <a:pt x="691845" y="27419"/>
                </a:lnTo>
                <a:lnTo>
                  <a:pt x="0" y="27419"/>
                </a:lnTo>
                <a:lnTo>
                  <a:pt x="0" y="82283"/>
                </a:lnTo>
                <a:lnTo>
                  <a:pt x="691845" y="82283"/>
                </a:lnTo>
                <a:lnTo>
                  <a:pt x="691845" y="109715"/>
                </a:lnTo>
                <a:lnTo>
                  <a:pt x="746709" y="54851"/>
                </a:lnTo>
                <a:lnTo>
                  <a:pt x="691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33"/>
          <p:cNvGrpSpPr/>
          <p:nvPr/>
        </p:nvGrpSpPr>
        <p:grpSpPr>
          <a:xfrm>
            <a:off x="1458671" y="3139439"/>
            <a:ext cx="1964689" cy="1251585"/>
            <a:chOff x="1458671" y="3139439"/>
            <a:chExt cx="1964689" cy="1251585"/>
          </a:xfrm>
        </p:grpSpPr>
        <p:sp>
          <p:nvSpPr>
            <p:cNvPr id="34" name="object 34"/>
            <p:cNvSpPr/>
            <p:nvPr/>
          </p:nvSpPr>
          <p:spPr>
            <a:xfrm>
              <a:off x="1990344" y="3139439"/>
              <a:ext cx="810768" cy="65532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458671" y="3556226"/>
              <a:ext cx="500532" cy="50053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2884246" y="3287687"/>
              <a:ext cx="413468" cy="413461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2661285" y="3988003"/>
              <a:ext cx="671536" cy="40292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2532240" y="3646474"/>
              <a:ext cx="890625" cy="500532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2083181" y="3800330"/>
              <a:ext cx="418852" cy="442688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40"/>
          <p:cNvSpPr/>
          <p:nvPr/>
        </p:nvSpPr>
        <p:spPr>
          <a:xfrm>
            <a:off x="8009940" y="2039907"/>
            <a:ext cx="3835222" cy="366298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863303" y="2008649"/>
            <a:ext cx="413468" cy="41346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604391" y="2542762"/>
            <a:ext cx="413461" cy="413467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3" name="object 43"/>
          <p:cNvGrpSpPr/>
          <p:nvPr/>
        </p:nvGrpSpPr>
        <p:grpSpPr>
          <a:xfrm>
            <a:off x="4852415" y="2435351"/>
            <a:ext cx="1716405" cy="2265680"/>
            <a:chOff x="4852415" y="2435351"/>
            <a:chExt cx="1716405" cy="2265680"/>
          </a:xfrm>
        </p:grpSpPr>
        <p:sp>
          <p:nvSpPr>
            <p:cNvPr id="44" name="object 44"/>
            <p:cNvSpPr/>
            <p:nvPr/>
          </p:nvSpPr>
          <p:spPr>
            <a:xfrm>
              <a:off x="4852415" y="2435351"/>
              <a:ext cx="1716024" cy="1731264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5522480" y="3127019"/>
              <a:ext cx="675640" cy="787400"/>
            </a:xfrm>
            <a:custGeom>
              <a:avLst/>
              <a:gdLst/>
              <a:ahLst/>
              <a:cxnLst/>
              <a:rect l="l" t="t" r="r" b="b"/>
              <a:pathLst>
                <a:path w="675639" h="787400">
                  <a:moveTo>
                    <a:pt x="337692" y="0"/>
                  </a:moveTo>
                  <a:lnTo>
                    <a:pt x="0" y="168846"/>
                  </a:lnTo>
                  <a:lnTo>
                    <a:pt x="0" y="618083"/>
                  </a:lnTo>
                  <a:lnTo>
                    <a:pt x="337692" y="786930"/>
                  </a:lnTo>
                  <a:lnTo>
                    <a:pt x="675398" y="618083"/>
                  </a:lnTo>
                  <a:lnTo>
                    <a:pt x="675398" y="168846"/>
                  </a:lnTo>
                  <a:lnTo>
                    <a:pt x="337692" y="0"/>
                  </a:lnTo>
                  <a:close/>
                </a:path>
              </a:pathLst>
            </a:custGeom>
            <a:solidFill>
              <a:srgbClr val="3D44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5172874" y="2541130"/>
              <a:ext cx="675640" cy="787400"/>
            </a:xfrm>
            <a:custGeom>
              <a:avLst/>
              <a:gdLst/>
              <a:ahLst/>
              <a:cxnLst/>
              <a:rect l="l" t="t" r="r" b="b"/>
              <a:pathLst>
                <a:path w="675639" h="787400">
                  <a:moveTo>
                    <a:pt x="337705" y="0"/>
                  </a:moveTo>
                  <a:lnTo>
                    <a:pt x="0" y="168846"/>
                  </a:lnTo>
                  <a:lnTo>
                    <a:pt x="0" y="618083"/>
                  </a:lnTo>
                  <a:lnTo>
                    <a:pt x="337705" y="786930"/>
                  </a:lnTo>
                  <a:lnTo>
                    <a:pt x="675398" y="618083"/>
                  </a:lnTo>
                  <a:lnTo>
                    <a:pt x="675398" y="168846"/>
                  </a:lnTo>
                  <a:lnTo>
                    <a:pt x="337705" y="0"/>
                  </a:lnTo>
                  <a:close/>
                </a:path>
              </a:pathLst>
            </a:custGeom>
            <a:solidFill>
              <a:srgbClr val="297D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5852058" y="2532049"/>
              <a:ext cx="675640" cy="787400"/>
            </a:xfrm>
            <a:custGeom>
              <a:avLst/>
              <a:gdLst/>
              <a:ahLst/>
              <a:cxnLst/>
              <a:rect l="l" t="t" r="r" b="b"/>
              <a:pathLst>
                <a:path w="675640" h="787400">
                  <a:moveTo>
                    <a:pt x="337705" y="0"/>
                  </a:moveTo>
                  <a:lnTo>
                    <a:pt x="0" y="168846"/>
                  </a:lnTo>
                  <a:lnTo>
                    <a:pt x="0" y="618083"/>
                  </a:lnTo>
                  <a:lnTo>
                    <a:pt x="337705" y="786930"/>
                  </a:lnTo>
                  <a:lnTo>
                    <a:pt x="675398" y="618083"/>
                  </a:lnTo>
                  <a:lnTo>
                    <a:pt x="675398" y="168846"/>
                  </a:lnTo>
                  <a:lnTo>
                    <a:pt x="337705" y="0"/>
                  </a:lnTo>
                  <a:close/>
                </a:path>
              </a:pathLst>
            </a:custGeom>
            <a:solidFill>
              <a:srgbClr val="FCC1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5516879" y="2727959"/>
              <a:ext cx="670560" cy="670560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5964935" y="2554223"/>
              <a:ext cx="414527" cy="417575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6010655" y="2782823"/>
              <a:ext cx="502920" cy="502920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5803391" y="3255263"/>
              <a:ext cx="414527" cy="414528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5647943" y="3499103"/>
              <a:ext cx="295655" cy="295656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5135879" y="2529839"/>
              <a:ext cx="694944" cy="694943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5216490" y="3745102"/>
              <a:ext cx="306070" cy="948055"/>
            </a:xfrm>
            <a:custGeom>
              <a:avLst/>
              <a:gdLst/>
              <a:ahLst/>
              <a:cxnLst/>
              <a:rect l="l" t="t" r="r" b="b"/>
              <a:pathLst>
                <a:path w="306070" h="948054">
                  <a:moveTo>
                    <a:pt x="305990" y="0"/>
                  </a:moveTo>
                  <a:lnTo>
                    <a:pt x="0" y="947459"/>
                  </a:lnTo>
                </a:path>
              </a:pathLst>
            </a:custGeom>
            <a:ln w="158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6197879" y="3745102"/>
              <a:ext cx="328295" cy="918844"/>
            </a:xfrm>
            <a:custGeom>
              <a:avLst/>
              <a:gdLst/>
              <a:ahLst/>
              <a:cxnLst/>
              <a:rect l="l" t="t" r="r" b="b"/>
              <a:pathLst>
                <a:path w="328295" h="918845">
                  <a:moveTo>
                    <a:pt x="0" y="0"/>
                  </a:moveTo>
                  <a:lnTo>
                    <a:pt x="328161" y="918361"/>
                  </a:lnTo>
                </a:path>
              </a:pathLst>
            </a:custGeom>
            <a:ln w="158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6" name="object 5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8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93447" y="1222946"/>
            <a:ext cx="11605106" cy="49158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75133" y="370528"/>
            <a:ext cx="8758555" cy="5035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3100" b="0" spc="110">
                <a:solidFill>
                  <a:srgbClr val="000000"/>
                </a:solidFill>
                <a:latin typeface="Arial"/>
                <a:cs typeface="Arial"/>
              </a:rPr>
              <a:t>A</a:t>
            </a:r>
            <a:r>
              <a:rPr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80">
                <a:solidFill>
                  <a:srgbClr val="000000"/>
                </a:solidFill>
                <a:latin typeface="Arial"/>
                <a:cs typeface="Arial"/>
              </a:rPr>
              <a:t>recommendation</a:t>
            </a:r>
            <a:r>
              <a:rPr sz="3100" b="0" spc="-6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90">
                <a:solidFill>
                  <a:srgbClr val="000000"/>
                </a:solidFill>
                <a:latin typeface="Arial"/>
                <a:cs typeface="Arial"/>
              </a:rPr>
              <a:t>is</a:t>
            </a:r>
            <a:r>
              <a:rPr sz="3100" b="0" spc="-6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45">
                <a:solidFill>
                  <a:srgbClr val="000000"/>
                </a:solidFill>
                <a:latin typeface="Arial"/>
                <a:cs typeface="Arial"/>
              </a:rPr>
              <a:t>based</a:t>
            </a:r>
            <a:r>
              <a:rPr sz="3100" b="0" spc="-5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60">
                <a:solidFill>
                  <a:srgbClr val="000000"/>
                </a:solidFill>
                <a:latin typeface="Arial"/>
                <a:cs typeface="Arial"/>
              </a:rPr>
              <a:t>on</a:t>
            </a:r>
            <a:r>
              <a:rPr sz="3100" b="0" spc="-5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70">
                <a:solidFill>
                  <a:srgbClr val="000000"/>
                </a:solidFill>
                <a:latin typeface="Arial"/>
                <a:cs typeface="Arial"/>
              </a:rPr>
              <a:t>several</a:t>
            </a:r>
            <a:r>
              <a:rPr sz="3100" b="0" spc="-6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90">
                <a:solidFill>
                  <a:srgbClr val="000000"/>
                </a:solidFill>
                <a:latin typeface="Arial"/>
                <a:cs typeface="Arial"/>
              </a:rPr>
              <a:t>factors</a:t>
            </a:r>
            <a:endParaRPr sz="310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9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4365167" y="5806947"/>
            <a:ext cx="258381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40">
                <a:latin typeface="Times New Roman"/>
                <a:cs typeface="Times New Roman"/>
              </a:rPr>
              <a:t>AREA</a:t>
            </a:r>
            <a:r>
              <a:rPr sz="1600" spc="-95">
                <a:latin typeface="Times New Roman"/>
                <a:cs typeface="Times New Roman"/>
              </a:rPr>
              <a:t> </a:t>
            </a:r>
            <a:r>
              <a:rPr sz="1600" spc="10">
                <a:latin typeface="Times New Roman"/>
                <a:cs typeface="Times New Roman"/>
              </a:rPr>
              <a:t>RECOMMENDATION</a:t>
            </a:r>
            <a:endParaRPr sz="16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28307" y="6074759"/>
            <a:ext cx="10535920" cy="461009"/>
          </a:xfrm>
          <a:custGeom>
            <a:avLst/>
            <a:gdLst/>
            <a:ahLst/>
            <a:cxnLst/>
            <a:rect l="l" t="t" r="r" b="b"/>
            <a:pathLst>
              <a:path w="10535920" h="461009">
                <a:moveTo>
                  <a:pt x="10458639" y="0"/>
                </a:moveTo>
                <a:lnTo>
                  <a:pt x="76746" y="0"/>
                </a:lnTo>
                <a:lnTo>
                  <a:pt x="46872" y="6031"/>
                </a:lnTo>
                <a:lnTo>
                  <a:pt x="22478" y="22478"/>
                </a:lnTo>
                <a:lnTo>
                  <a:pt x="6031" y="46873"/>
                </a:lnTo>
                <a:lnTo>
                  <a:pt x="0" y="76746"/>
                </a:lnTo>
                <a:lnTo>
                  <a:pt x="0" y="383719"/>
                </a:lnTo>
                <a:lnTo>
                  <a:pt x="6031" y="413592"/>
                </a:lnTo>
                <a:lnTo>
                  <a:pt x="22478" y="437986"/>
                </a:lnTo>
                <a:lnTo>
                  <a:pt x="46872" y="454434"/>
                </a:lnTo>
                <a:lnTo>
                  <a:pt x="76746" y="460465"/>
                </a:lnTo>
                <a:lnTo>
                  <a:pt x="10458639" y="460465"/>
                </a:lnTo>
                <a:lnTo>
                  <a:pt x="10488509" y="454434"/>
                </a:lnTo>
                <a:lnTo>
                  <a:pt x="10512904" y="437986"/>
                </a:lnTo>
                <a:lnTo>
                  <a:pt x="10529353" y="413592"/>
                </a:lnTo>
                <a:lnTo>
                  <a:pt x="10535385" y="383719"/>
                </a:lnTo>
                <a:lnTo>
                  <a:pt x="10535385" y="76746"/>
                </a:lnTo>
                <a:lnTo>
                  <a:pt x="10529353" y="46873"/>
                </a:lnTo>
                <a:lnTo>
                  <a:pt x="10512904" y="22478"/>
                </a:lnTo>
                <a:lnTo>
                  <a:pt x="10488509" y="6031"/>
                </a:lnTo>
                <a:lnTo>
                  <a:pt x="10458639" y="0"/>
                </a:lnTo>
                <a:close/>
              </a:path>
            </a:pathLst>
          </a:custGeom>
          <a:solidFill>
            <a:srgbClr val="7AACC9">
              <a:alpha val="501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28043" y="288231"/>
            <a:ext cx="7137625" cy="49436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nb-NO" sz="3100" b="0" spc="210" err="1">
                <a:solidFill>
                  <a:srgbClr val="000000"/>
                </a:solidFill>
                <a:latin typeface="Arial"/>
                <a:cs typeface="Arial"/>
              </a:rPr>
              <a:t>We</a:t>
            </a:r>
            <a:r>
              <a:rPr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5">
                <a:solidFill>
                  <a:srgbClr val="000000"/>
                </a:solidFill>
                <a:latin typeface="Arial"/>
                <a:cs typeface="Arial"/>
              </a:rPr>
              <a:t>use</a:t>
            </a:r>
            <a:r>
              <a:rPr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65">
                <a:solidFill>
                  <a:srgbClr val="000000"/>
                </a:solidFill>
                <a:latin typeface="Arial"/>
                <a:cs typeface="Arial"/>
              </a:rPr>
              <a:t>MLOps</a:t>
            </a:r>
            <a:r>
              <a:rPr sz="3100" b="0" spc="-6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-20">
                <a:solidFill>
                  <a:srgbClr val="000000"/>
                </a:solidFill>
                <a:latin typeface="Arial"/>
                <a:cs typeface="Arial"/>
              </a:rPr>
              <a:t>as</a:t>
            </a:r>
            <a:r>
              <a:rPr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nb-NO" sz="3100" b="0" spc="-65" err="1">
                <a:solidFill>
                  <a:srgbClr val="000000"/>
                </a:solidFill>
                <a:latin typeface="Arial"/>
                <a:cs typeface="Arial"/>
              </a:rPr>
              <a:t>our</a:t>
            </a:r>
            <a:r>
              <a:rPr lang="nb-NO"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220">
                <a:solidFill>
                  <a:srgbClr val="000000"/>
                </a:solidFill>
                <a:latin typeface="Arial"/>
                <a:cs typeface="Arial"/>
              </a:rPr>
              <a:t>work</a:t>
            </a:r>
            <a:r>
              <a:rPr sz="3100" b="0" spc="-65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3100" b="0" spc="195">
                <a:solidFill>
                  <a:srgbClr val="000000"/>
                </a:solidFill>
                <a:latin typeface="Arial"/>
                <a:cs typeface="Arial"/>
              </a:rPr>
              <a:t>method</a:t>
            </a:r>
            <a:endParaRPr sz="31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563787" y="1447053"/>
            <a:ext cx="9388692" cy="26269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302685" y="2189988"/>
            <a:ext cx="5988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70">
                <a:latin typeface="Times New Roman"/>
                <a:cs typeface="Times New Roman"/>
              </a:rPr>
              <a:t>Design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34739" y="5537949"/>
            <a:ext cx="10534650" cy="461009"/>
          </a:xfrm>
          <a:custGeom>
            <a:avLst/>
            <a:gdLst/>
            <a:ahLst/>
            <a:cxnLst/>
            <a:rect l="l" t="t" r="r" b="b"/>
            <a:pathLst>
              <a:path w="10534650" h="461010">
                <a:moveTo>
                  <a:pt x="10457694" y="0"/>
                </a:moveTo>
                <a:lnTo>
                  <a:pt x="76738" y="0"/>
                </a:lnTo>
                <a:lnTo>
                  <a:pt x="46868" y="6031"/>
                </a:lnTo>
                <a:lnTo>
                  <a:pt x="22476" y="22480"/>
                </a:lnTo>
                <a:lnTo>
                  <a:pt x="6030" y="46874"/>
                </a:lnTo>
                <a:lnTo>
                  <a:pt x="0" y="76743"/>
                </a:lnTo>
                <a:lnTo>
                  <a:pt x="0" y="383726"/>
                </a:lnTo>
                <a:lnTo>
                  <a:pt x="6030" y="413598"/>
                </a:lnTo>
                <a:lnTo>
                  <a:pt x="22476" y="437991"/>
                </a:lnTo>
                <a:lnTo>
                  <a:pt x="46868" y="454437"/>
                </a:lnTo>
                <a:lnTo>
                  <a:pt x="76738" y="460467"/>
                </a:lnTo>
                <a:lnTo>
                  <a:pt x="10457694" y="460467"/>
                </a:lnTo>
                <a:lnTo>
                  <a:pt x="10487564" y="454437"/>
                </a:lnTo>
                <a:lnTo>
                  <a:pt x="10511959" y="437991"/>
                </a:lnTo>
                <a:lnTo>
                  <a:pt x="10528408" y="413598"/>
                </a:lnTo>
                <a:lnTo>
                  <a:pt x="10534440" y="383726"/>
                </a:lnTo>
                <a:lnTo>
                  <a:pt x="10534440" y="76743"/>
                </a:lnTo>
                <a:lnTo>
                  <a:pt x="10528408" y="46874"/>
                </a:lnTo>
                <a:lnTo>
                  <a:pt x="10511959" y="22480"/>
                </a:lnTo>
                <a:lnTo>
                  <a:pt x="10487564" y="6031"/>
                </a:lnTo>
                <a:lnTo>
                  <a:pt x="10457694" y="0"/>
                </a:lnTo>
                <a:close/>
              </a:path>
            </a:pathLst>
          </a:custGeom>
          <a:solidFill>
            <a:srgbClr val="FF7900">
              <a:alpha val="501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34739" y="4405617"/>
            <a:ext cx="10534650" cy="461009"/>
          </a:xfrm>
          <a:custGeom>
            <a:avLst/>
            <a:gdLst/>
            <a:ahLst/>
            <a:cxnLst/>
            <a:rect l="l" t="t" r="r" b="b"/>
            <a:pathLst>
              <a:path w="10534650" h="461010">
                <a:moveTo>
                  <a:pt x="10457694" y="0"/>
                </a:moveTo>
                <a:lnTo>
                  <a:pt x="76738" y="0"/>
                </a:lnTo>
                <a:lnTo>
                  <a:pt x="46868" y="6031"/>
                </a:lnTo>
                <a:lnTo>
                  <a:pt x="22476" y="22480"/>
                </a:lnTo>
                <a:lnTo>
                  <a:pt x="6030" y="46875"/>
                </a:lnTo>
                <a:lnTo>
                  <a:pt x="0" y="76746"/>
                </a:lnTo>
                <a:lnTo>
                  <a:pt x="0" y="383730"/>
                </a:lnTo>
                <a:lnTo>
                  <a:pt x="6030" y="413599"/>
                </a:lnTo>
                <a:lnTo>
                  <a:pt x="22476" y="437989"/>
                </a:lnTo>
                <a:lnTo>
                  <a:pt x="46868" y="454433"/>
                </a:lnTo>
                <a:lnTo>
                  <a:pt x="76738" y="460463"/>
                </a:lnTo>
                <a:lnTo>
                  <a:pt x="10457694" y="460463"/>
                </a:lnTo>
                <a:lnTo>
                  <a:pt x="10487564" y="454433"/>
                </a:lnTo>
                <a:lnTo>
                  <a:pt x="10511959" y="437989"/>
                </a:lnTo>
                <a:lnTo>
                  <a:pt x="10528408" y="413599"/>
                </a:lnTo>
                <a:lnTo>
                  <a:pt x="10534440" y="383730"/>
                </a:lnTo>
                <a:lnTo>
                  <a:pt x="10534440" y="76746"/>
                </a:lnTo>
                <a:lnTo>
                  <a:pt x="10528408" y="46875"/>
                </a:lnTo>
                <a:lnTo>
                  <a:pt x="10511959" y="22480"/>
                </a:lnTo>
                <a:lnTo>
                  <a:pt x="10487564" y="6031"/>
                </a:lnTo>
                <a:lnTo>
                  <a:pt x="10457694" y="0"/>
                </a:lnTo>
                <a:close/>
              </a:path>
            </a:pathLst>
          </a:custGeom>
          <a:solidFill>
            <a:srgbClr val="297D7F">
              <a:alpha val="501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34739" y="4970119"/>
            <a:ext cx="10549890" cy="461009"/>
          </a:xfrm>
          <a:custGeom>
            <a:avLst/>
            <a:gdLst/>
            <a:ahLst/>
            <a:cxnLst/>
            <a:rect l="l" t="t" r="r" b="b"/>
            <a:pathLst>
              <a:path w="10549890" h="461010">
                <a:moveTo>
                  <a:pt x="10472959" y="0"/>
                </a:moveTo>
                <a:lnTo>
                  <a:pt x="76746" y="0"/>
                </a:lnTo>
                <a:lnTo>
                  <a:pt x="46872" y="6032"/>
                </a:lnTo>
                <a:lnTo>
                  <a:pt x="22478" y="22482"/>
                </a:lnTo>
                <a:lnTo>
                  <a:pt x="6031" y="46880"/>
                </a:lnTo>
                <a:lnTo>
                  <a:pt x="0" y="76758"/>
                </a:lnTo>
                <a:lnTo>
                  <a:pt x="0" y="383717"/>
                </a:lnTo>
                <a:lnTo>
                  <a:pt x="6031" y="413593"/>
                </a:lnTo>
                <a:lnTo>
                  <a:pt x="22478" y="437988"/>
                </a:lnTo>
                <a:lnTo>
                  <a:pt x="46872" y="454433"/>
                </a:lnTo>
                <a:lnTo>
                  <a:pt x="76746" y="460463"/>
                </a:lnTo>
                <a:lnTo>
                  <a:pt x="10472959" y="460463"/>
                </a:lnTo>
                <a:lnTo>
                  <a:pt x="10502830" y="454433"/>
                </a:lnTo>
                <a:lnTo>
                  <a:pt x="10527225" y="437988"/>
                </a:lnTo>
                <a:lnTo>
                  <a:pt x="10543673" y="413593"/>
                </a:lnTo>
                <a:lnTo>
                  <a:pt x="10549705" y="383717"/>
                </a:lnTo>
                <a:lnTo>
                  <a:pt x="10549705" y="76758"/>
                </a:lnTo>
                <a:lnTo>
                  <a:pt x="10543673" y="46880"/>
                </a:lnTo>
                <a:lnTo>
                  <a:pt x="10527225" y="22482"/>
                </a:lnTo>
                <a:lnTo>
                  <a:pt x="10502830" y="6032"/>
                </a:lnTo>
                <a:lnTo>
                  <a:pt x="10472959" y="0"/>
                </a:lnTo>
                <a:close/>
              </a:path>
            </a:pathLst>
          </a:custGeom>
          <a:solidFill>
            <a:srgbClr val="B9848F">
              <a:alpha val="501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463440" y="4527804"/>
            <a:ext cx="3415029" cy="18694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60">
                <a:latin typeface="Times New Roman"/>
                <a:cs typeface="Times New Roman"/>
              </a:rPr>
              <a:t>Organizational</a:t>
            </a:r>
            <a:r>
              <a:rPr sz="1400" b="1" spc="-80">
                <a:latin typeface="Times New Roman"/>
                <a:cs typeface="Times New Roman"/>
              </a:rPr>
              <a:t> </a:t>
            </a:r>
            <a:r>
              <a:rPr sz="1400" b="1" spc="70">
                <a:latin typeface="Times New Roman"/>
                <a:cs typeface="Times New Roman"/>
              </a:rPr>
              <a:t>Data</a:t>
            </a:r>
            <a:r>
              <a:rPr sz="1400" b="1" spc="-80">
                <a:latin typeface="Times New Roman"/>
                <a:cs typeface="Times New Roman"/>
              </a:rPr>
              <a:t> </a:t>
            </a:r>
            <a:r>
              <a:rPr sz="1400" b="1" spc="-100">
                <a:latin typeface="Times New Roman"/>
                <a:cs typeface="Times New Roman"/>
              </a:rPr>
              <a:t>&amp;</a:t>
            </a:r>
            <a:r>
              <a:rPr sz="1400" b="1" spc="-65">
                <a:latin typeface="Times New Roman"/>
                <a:cs typeface="Times New Roman"/>
              </a:rPr>
              <a:t> </a:t>
            </a:r>
            <a:r>
              <a:rPr sz="1400" b="1" spc="75">
                <a:latin typeface="Times New Roman"/>
                <a:cs typeface="Times New Roman"/>
              </a:rPr>
              <a:t>Decision</a:t>
            </a:r>
            <a:r>
              <a:rPr sz="1400" b="1" spc="-80">
                <a:latin typeface="Times New Roman"/>
                <a:cs typeface="Times New Roman"/>
              </a:rPr>
              <a:t> </a:t>
            </a:r>
            <a:r>
              <a:rPr sz="1400" b="1" spc="70">
                <a:latin typeface="Times New Roman"/>
                <a:cs typeface="Times New Roman"/>
              </a:rPr>
              <a:t>Support</a:t>
            </a: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150">
              <a:latin typeface="Times New Roman"/>
              <a:cs typeface="Times New Roman"/>
            </a:endParaRPr>
          </a:p>
          <a:p>
            <a:pPr marR="141605" algn="ctr">
              <a:lnSpc>
                <a:spcPct val="100000"/>
              </a:lnSpc>
            </a:pPr>
            <a:r>
              <a:rPr sz="1400" b="1" spc="70">
                <a:latin typeface="Times New Roman"/>
                <a:cs typeface="Times New Roman"/>
              </a:rPr>
              <a:t>Data </a:t>
            </a:r>
            <a:r>
              <a:rPr sz="1400" b="1" spc="60">
                <a:latin typeface="Times New Roman"/>
                <a:cs typeface="Times New Roman"/>
              </a:rPr>
              <a:t>Pipelines</a:t>
            </a:r>
            <a:r>
              <a:rPr sz="1400" b="1" spc="-220">
                <a:latin typeface="Times New Roman"/>
                <a:cs typeface="Times New Roman"/>
              </a:rPr>
              <a:t> </a:t>
            </a:r>
            <a:r>
              <a:rPr sz="1400" b="1" spc="-100">
                <a:latin typeface="Times New Roman"/>
                <a:cs typeface="Times New Roman"/>
              </a:rPr>
              <a:t>&amp; </a:t>
            </a:r>
            <a:r>
              <a:rPr sz="1400" b="1" spc="50">
                <a:latin typeface="Times New Roman"/>
                <a:cs typeface="Times New Roman"/>
              </a:rPr>
              <a:t>Quality</a:t>
            </a:r>
            <a:endParaRPr sz="1400">
              <a:latin typeface="Times New Roman"/>
              <a:cs typeface="Times New Roman"/>
            </a:endParaRPr>
          </a:p>
          <a:p>
            <a:pPr marL="608965" marR="750570" algn="ctr">
              <a:lnSpc>
                <a:spcPct val="252900"/>
              </a:lnSpc>
              <a:spcBef>
                <a:spcPts val="170"/>
              </a:spcBef>
            </a:pPr>
            <a:r>
              <a:rPr sz="1400" b="1" spc="55">
                <a:latin typeface="Times New Roman"/>
                <a:cs typeface="Times New Roman"/>
              </a:rPr>
              <a:t>Infrastructure </a:t>
            </a:r>
            <a:r>
              <a:rPr sz="1400" b="1" spc="-100">
                <a:latin typeface="Times New Roman"/>
                <a:cs typeface="Times New Roman"/>
              </a:rPr>
              <a:t>&amp;</a:t>
            </a:r>
            <a:r>
              <a:rPr sz="1400" b="1" spc="-270">
                <a:latin typeface="Times New Roman"/>
                <a:cs typeface="Times New Roman"/>
              </a:rPr>
              <a:t> </a:t>
            </a:r>
            <a:r>
              <a:rPr sz="1400" b="1" spc="60">
                <a:latin typeface="Times New Roman"/>
                <a:cs typeface="Times New Roman"/>
              </a:rPr>
              <a:t>Tooling  </a:t>
            </a:r>
            <a:r>
              <a:rPr sz="1400" b="1" spc="55">
                <a:latin typeface="Times New Roman"/>
                <a:cs typeface="Times New Roman"/>
              </a:rPr>
              <a:t>Team </a:t>
            </a:r>
            <a:r>
              <a:rPr sz="1400" b="1" spc="-100">
                <a:latin typeface="Times New Roman"/>
                <a:cs typeface="Times New Roman"/>
              </a:rPr>
              <a:t>&amp;</a:t>
            </a:r>
            <a:r>
              <a:rPr sz="1400" b="1" spc="-235">
                <a:latin typeface="Times New Roman"/>
                <a:cs typeface="Times New Roman"/>
              </a:rPr>
              <a:t> </a:t>
            </a:r>
            <a:r>
              <a:rPr sz="1400" b="1" spc="85">
                <a:latin typeface="Times New Roman"/>
                <a:cs typeface="Times New Roman"/>
              </a:rPr>
              <a:t>Processes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125304" y="2659380"/>
            <a:ext cx="136906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>
                <a:solidFill>
                  <a:srgbClr val="404040"/>
                </a:solidFill>
                <a:latin typeface="Arial"/>
                <a:cs typeface="Arial"/>
              </a:rPr>
              <a:t>Project</a:t>
            </a:r>
            <a:r>
              <a:rPr sz="1400" spc="-105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20">
                <a:solidFill>
                  <a:srgbClr val="404040"/>
                </a:solidFill>
                <a:latin typeface="Arial"/>
                <a:cs typeface="Arial"/>
              </a:rPr>
              <a:t>defini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44375" y="2116836"/>
            <a:ext cx="1254125" cy="99186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67640" marR="5080">
              <a:lnSpc>
                <a:spcPct val="101400"/>
              </a:lnSpc>
              <a:spcBef>
                <a:spcPts val="75"/>
              </a:spcBef>
            </a:pPr>
            <a:r>
              <a:rPr sz="1400" b="1" spc="40">
                <a:latin typeface="Times New Roman"/>
                <a:cs typeface="Times New Roman"/>
              </a:rPr>
              <a:t>Model  </a:t>
            </a:r>
            <a:r>
              <a:rPr sz="1400" b="1" spc="55">
                <a:latin typeface="Times New Roman"/>
                <a:cs typeface="Times New Roman"/>
              </a:rPr>
              <a:t>d</a:t>
            </a:r>
            <a:r>
              <a:rPr sz="1400" b="1" spc="45">
                <a:latin typeface="Times New Roman"/>
                <a:cs typeface="Times New Roman"/>
              </a:rPr>
              <a:t>e</a:t>
            </a:r>
            <a:r>
              <a:rPr sz="1400" b="1" spc="55">
                <a:latin typeface="Times New Roman"/>
                <a:cs typeface="Times New Roman"/>
              </a:rPr>
              <a:t>v</a:t>
            </a:r>
            <a:r>
              <a:rPr sz="1400" b="1" spc="60">
                <a:latin typeface="Times New Roman"/>
                <a:cs typeface="Times New Roman"/>
              </a:rPr>
              <a:t>e</a:t>
            </a:r>
            <a:r>
              <a:rPr sz="1400" b="1" spc="35">
                <a:latin typeface="Times New Roman"/>
                <a:cs typeface="Times New Roman"/>
              </a:rPr>
              <a:t>l</a:t>
            </a:r>
            <a:r>
              <a:rPr sz="1400" b="1" spc="120">
                <a:latin typeface="Times New Roman"/>
                <a:cs typeface="Times New Roman"/>
              </a:rPr>
              <a:t>o</a:t>
            </a:r>
            <a:r>
              <a:rPr sz="1400" b="1" spc="50">
                <a:latin typeface="Times New Roman"/>
                <a:cs typeface="Times New Roman"/>
              </a:rPr>
              <a:t>p</a:t>
            </a:r>
            <a:r>
              <a:rPr sz="1400" b="1" spc="114">
                <a:latin typeface="Times New Roman"/>
                <a:cs typeface="Times New Roman"/>
              </a:rPr>
              <a:t>m</a:t>
            </a:r>
            <a:r>
              <a:rPr sz="1400" b="1" spc="60">
                <a:latin typeface="Times New Roman"/>
                <a:cs typeface="Times New Roman"/>
              </a:rPr>
              <a:t>e</a:t>
            </a:r>
            <a:r>
              <a:rPr sz="1400" b="1" spc="80">
                <a:latin typeface="Times New Roman"/>
                <a:cs typeface="Times New Roman"/>
              </a:rPr>
              <a:t>n</a:t>
            </a:r>
            <a:r>
              <a:rPr sz="1400" b="1" spc="95">
                <a:latin typeface="Times New Roman"/>
                <a:cs typeface="Times New Roman"/>
              </a:rPr>
              <a:t>t</a:t>
            </a:r>
            <a:endParaRPr sz="1400">
              <a:latin typeface="Times New Roman"/>
              <a:cs typeface="Times New Roman"/>
            </a:endParaRPr>
          </a:p>
          <a:p>
            <a:pPr marL="12700" marR="231775">
              <a:lnSpc>
                <a:spcPct val="101400"/>
              </a:lnSpc>
              <a:spcBef>
                <a:spcPts val="815"/>
              </a:spcBef>
            </a:pPr>
            <a:r>
              <a:rPr sz="1400" spc="-15">
                <a:solidFill>
                  <a:srgbClr val="404040"/>
                </a:solidFill>
                <a:latin typeface="Arial"/>
                <a:cs typeface="Arial"/>
              </a:rPr>
              <a:t>Develop</a:t>
            </a:r>
            <a:r>
              <a:rPr sz="1400" spc="-16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-20">
                <a:solidFill>
                  <a:srgbClr val="404040"/>
                </a:solidFill>
                <a:latin typeface="Arial"/>
                <a:cs typeface="Arial"/>
              </a:rPr>
              <a:t>new  </a:t>
            </a:r>
            <a:r>
              <a:rPr sz="1400" spc="-5">
                <a:solidFill>
                  <a:srgbClr val="404040"/>
                </a:solidFill>
                <a:latin typeface="Arial"/>
                <a:cs typeface="Arial"/>
              </a:rPr>
              <a:t>featur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565669" y="2202180"/>
            <a:ext cx="1327785" cy="8362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13664">
              <a:lnSpc>
                <a:spcPct val="100000"/>
              </a:lnSpc>
              <a:spcBef>
                <a:spcPts val="100"/>
              </a:spcBef>
            </a:pPr>
            <a:r>
              <a:rPr sz="1400" b="1" spc="70">
                <a:latin typeface="Times New Roman"/>
                <a:cs typeface="Times New Roman"/>
              </a:rPr>
              <a:t>Production</a:t>
            </a:r>
            <a:endParaRPr sz="1400">
              <a:latin typeface="Times New Roman"/>
              <a:cs typeface="Times New Roman"/>
            </a:endParaRPr>
          </a:p>
          <a:p>
            <a:pPr marL="12700" marR="5080">
              <a:lnSpc>
                <a:spcPct val="101400"/>
              </a:lnSpc>
              <a:spcBef>
                <a:spcPts val="1295"/>
              </a:spcBef>
            </a:pPr>
            <a:r>
              <a:rPr sz="1400" spc="-10">
                <a:solidFill>
                  <a:srgbClr val="404040"/>
                </a:solidFill>
                <a:latin typeface="Arial"/>
                <a:cs typeface="Arial"/>
              </a:rPr>
              <a:t>Operationalise</a:t>
            </a:r>
            <a:r>
              <a:rPr sz="1400" spc="-15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60">
                <a:solidFill>
                  <a:srgbClr val="404040"/>
                </a:solidFill>
                <a:latin typeface="Arial"/>
                <a:cs typeface="Arial"/>
              </a:rPr>
              <a:t>&amp;  </a:t>
            </a:r>
            <a:r>
              <a:rPr sz="1400" spc="-40">
                <a:solidFill>
                  <a:srgbClr val="404040"/>
                </a:solidFill>
                <a:latin typeface="Arial"/>
                <a:cs typeface="Arial"/>
              </a:rPr>
              <a:t>scale</a:t>
            </a:r>
            <a:r>
              <a:rPr sz="1400" spc="-95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5">
                <a:solidFill>
                  <a:srgbClr val="404040"/>
                </a:solidFill>
                <a:latin typeface="Arial"/>
                <a:cs typeface="Arial"/>
              </a:rPr>
              <a:t>model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101326" y="2159508"/>
            <a:ext cx="1426210" cy="95250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60325" marR="287655">
              <a:lnSpc>
                <a:spcPct val="101400"/>
              </a:lnSpc>
              <a:spcBef>
                <a:spcPts val="75"/>
              </a:spcBef>
            </a:pPr>
            <a:r>
              <a:rPr sz="1400" b="1" spc="-75">
                <a:latin typeface="Times New Roman"/>
                <a:cs typeface="Times New Roman"/>
              </a:rPr>
              <a:t>ML </a:t>
            </a:r>
            <a:r>
              <a:rPr sz="1400" b="1" spc="20">
                <a:latin typeface="Times New Roman"/>
                <a:cs typeface="Times New Roman"/>
              </a:rPr>
              <a:t>UI/UX</a:t>
            </a:r>
            <a:r>
              <a:rPr sz="1400" b="1" spc="-165">
                <a:latin typeface="Times New Roman"/>
                <a:cs typeface="Times New Roman"/>
              </a:rPr>
              <a:t> </a:t>
            </a:r>
            <a:r>
              <a:rPr sz="1400" b="1" spc="100">
                <a:latin typeface="Times New Roman"/>
                <a:cs typeface="Times New Roman"/>
              </a:rPr>
              <a:t>on  </a:t>
            </a:r>
            <a:r>
              <a:rPr sz="1400" b="1" spc="70">
                <a:latin typeface="Times New Roman"/>
                <a:cs typeface="Times New Roman"/>
              </a:rPr>
              <a:t>platform</a:t>
            </a:r>
            <a:endParaRPr sz="1400">
              <a:latin typeface="Times New Roman"/>
              <a:cs typeface="Times New Roman"/>
            </a:endParaRPr>
          </a:p>
          <a:p>
            <a:pPr marL="12700" marR="5080">
              <a:lnSpc>
                <a:spcPct val="101400"/>
              </a:lnSpc>
              <a:spcBef>
                <a:spcPts val="505"/>
              </a:spcBef>
            </a:pPr>
            <a:r>
              <a:rPr sz="1400" spc="15">
                <a:solidFill>
                  <a:srgbClr val="404040"/>
                </a:solidFill>
                <a:latin typeface="Arial"/>
                <a:cs typeface="Arial"/>
              </a:rPr>
              <a:t>First </a:t>
            </a:r>
            <a:r>
              <a:rPr sz="1400" spc="55">
                <a:solidFill>
                  <a:srgbClr val="404040"/>
                </a:solidFill>
                <a:latin typeface="Arial"/>
                <a:cs typeface="Arial"/>
              </a:rPr>
              <a:t>ml </a:t>
            </a:r>
            <a:r>
              <a:rPr sz="1400" spc="-20">
                <a:solidFill>
                  <a:srgbClr val="404040"/>
                </a:solidFill>
                <a:latin typeface="Arial"/>
                <a:cs typeface="Arial"/>
              </a:rPr>
              <a:t>user  </a:t>
            </a:r>
            <a:r>
              <a:rPr sz="1400" spc="15">
                <a:solidFill>
                  <a:srgbClr val="404040"/>
                </a:solidFill>
                <a:latin typeface="Arial"/>
                <a:cs typeface="Arial"/>
              </a:rPr>
              <a:t>interaction</a:t>
            </a:r>
            <a:r>
              <a:rPr sz="1400" spc="-105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-25">
                <a:solidFill>
                  <a:srgbClr val="404040"/>
                </a:solidFill>
                <a:latin typeface="Arial"/>
                <a:cs typeface="Arial"/>
              </a:rPr>
              <a:t>desig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67815" y="2208276"/>
            <a:ext cx="131635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70">
                <a:latin typeface="Times New Roman"/>
                <a:cs typeface="Times New Roman"/>
              </a:rPr>
              <a:t>Data</a:t>
            </a:r>
            <a:r>
              <a:rPr sz="1400" b="1" spc="-125">
                <a:latin typeface="Times New Roman"/>
                <a:cs typeface="Times New Roman"/>
              </a:rPr>
              <a:t> </a:t>
            </a:r>
            <a:r>
              <a:rPr sz="1400" b="1" spc="60">
                <a:latin typeface="Times New Roman"/>
                <a:cs typeface="Times New Roman"/>
              </a:rPr>
              <a:t>Collection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31559" y="2659380"/>
            <a:ext cx="1297940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spc="10">
                <a:solidFill>
                  <a:srgbClr val="404040"/>
                </a:solidFill>
                <a:latin typeface="Arial"/>
                <a:cs typeface="Arial"/>
              </a:rPr>
              <a:t>Add </a:t>
            </a:r>
            <a:r>
              <a:rPr sz="1400" spc="-20">
                <a:solidFill>
                  <a:srgbClr val="404040"/>
                </a:solidFill>
                <a:latin typeface="Arial"/>
                <a:cs typeface="Arial"/>
              </a:rPr>
              <a:t>new </a:t>
            </a:r>
            <a:r>
              <a:rPr sz="1400" spc="-5">
                <a:solidFill>
                  <a:srgbClr val="404040"/>
                </a:solidFill>
                <a:latin typeface="Arial"/>
                <a:cs typeface="Arial"/>
              </a:rPr>
              <a:t>data</a:t>
            </a:r>
            <a:r>
              <a:rPr sz="1400" spc="-285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400" spc="60">
                <a:solidFill>
                  <a:srgbClr val="404040"/>
                </a:solidFill>
                <a:latin typeface="Arial"/>
                <a:cs typeface="Arial"/>
              </a:rPr>
              <a:t>to  </a:t>
            </a:r>
            <a:r>
              <a:rPr sz="1400" spc="5">
                <a:solidFill>
                  <a:srgbClr val="404040"/>
                </a:solidFill>
                <a:latin typeface="Arial"/>
                <a:cs typeface="Arial"/>
              </a:rPr>
              <a:t>model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2934" y="1389520"/>
            <a:ext cx="2509520" cy="2606675"/>
          </a:xfrm>
          <a:custGeom>
            <a:avLst/>
            <a:gdLst/>
            <a:ahLst/>
            <a:cxnLst/>
            <a:rect l="l" t="t" r="r" b="b"/>
            <a:pathLst>
              <a:path w="2509520" h="2606675">
                <a:moveTo>
                  <a:pt x="1242560" y="0"/>
                </a:moveTo>
                <a:lnTo>
                  <a:pt x="1197247" y="973"/>
                </a:lnTo>
                <a:lnTo>
                  <a:pt x="1152184" y="3596"/>
                </a:lnTo>
                <a:lnTo>
                  <a:pt x="1107412" y="7849"/>
                </a:lnTo>
                <a:lnTo>
                  <a:pt x="1062968" y="13713"/>
                </a:lnTo>
                <a:lnTo>
                  <a:pt x="1018891" y="21168"/>
                </a:lnTo>
                <a:lnTo>
                  <a:pt x="975219" y="30194"/>
                </a:lnTo>
                <a:lnTo>
                  <a:pt x="931991" y="40771"/>
                </a:lnTo>
                <a:lnTo>
                  <a:pt x="889246" y="52880"/>
                </a:lnTo>
                <a:lnTo>
                  <a:pt x="847023" y="66500"/>
                </a:lnTo>
                <a:lnTo>
                  <a:pt x="805359" y="81612"/>
                </a:lnTo>
                <a:lnTo>
                  <a:pt x="764293" y="98197"/>
                </a:lnTo>
                <a:lnTo>
                  <a:pt x="723865" y="116234"/>
                </a:lnTo>
                <a:lnTo>
                  <a:pt x="684112" y="135703"/>
                </a:lnTo>
                <a:lnTo>
                  <a:pt x="645073" y="156586"/>
                </a:lnTo>
                <a:lnTo>
                  <a:pt x="606788" y="178861"/>
                </a:lnTo>
                <a:lnTo>
                  <a:pt x="569293" y="202511"/>
                </a:lnTo>
                <a:lnTo>
                  <a:pt x="532629" y="227513"/>
                </a:lnTo>
                <a:lnTo>
                  <a:pt x="496833" y="253850"/>
                </a:lnTo>
                <a:lnTo>
                  <a:pt x="461945" y="281500"/>
                </a:lnTo>
                <a:lnTo>
                  <a:pt x="428002" y="310445"/>
                </a:lnTo>
                <a:lnTo>
                  <a:pt x="395043" y="340665"/>
                </a:lnTo>
                <a:lnTo>
                  <a:pt x="363108" y="372139"/>
                </a:lnTo>
                <a:lnTo>
                  <a:pt x="332234" y="404848"/>
                </a:lnTo>
                <a:lnTo>
                  <a:pt x="302460" y="438773"/>
                </a:lnTo>
                <a:lnTo>
                  <a:pt x="273825" y="473893"/>
                </a:lnTo>
                <a:lnTo>
                  <a:pt x="246367" y="510189"/>
                </a:lnTo>
                <a:lnTo>
                  <a:pt x="220125" y="547640"/>
                </a:lnTo>
                <a:lnTo>
                  <a:pt x="195138" y="586228"/>
                </a:lnTo>
                <a:lnTo>
                  <a:pt x="171443" y="625933"/>
                </a:lnTo>
                <a:lnTo>
                  <a:pt x="149081" y="666734"/>
                </a:lnTo>
                <a:lnTo>
                  <a:pt x="128089" y="708612"/>
                </a:lnTo>
                <a:lnTo>
                  <a:pt x="108505" y="751547"/>
                </a:lnTo>
                <a:lnTo>
                  <a:pt x="90369" y="795519"/>
                </a:lnTo>
                <a:lnTo>
                  <a:pt x="73719" y="840509"/>
                </a:lnTo>
                <a:lnTo>
                  <a:pt x="58594" y="886497"/>
                </a:lnTo>
                <a:lnTo>
                  <a:pt x="45145" y="933060"/>
                </a:lnTo>
                <a:lnTo>
                  <a:pt x="33487" y="979761"/>
                </a:lnTo>
                <a:lnTo>
                  <a:pt x="23599" y="1026559"/>
                </a:lnTo>
                <a:lnTo>
                  <a:pt x="15460" y="1073417"/>
                </a:lnTo>
                <a:lnTo>
                  <a:pt x="9051" y="1120292"/>
                </a:lnTo>
                <a:lnTo>
                  <a:pt x="4351" y="1167147"/>
                </a:lnTo>
                <a:lnTo>
                  <a:pt x="1341" y="1213939"/>
                </a:lnTo>
                <a:lnTo>
                  <a:pt x="0" y="1260631"/>
                </a:lnTo>
                <a:lnTo>
                  <a:pt x="307" y="1307181"/>
                </a:lnTo>
                <a:lnTo>
                  <a:pt x="2243" y="1353551"/>
                </a:lnTo>
                <a:lnTo>
                  <a:pt x="5788" y="1399699"/>
                </a:lnTo>
                <a:lnTo>
                  <a:pt x="10921" y="1445586"/>
                </a:lnTo>
                <a:lnTo>
                  <a:pt x="17622" y="1491173"/>
                </a:lnTo>
                <a:lnTo>
                  <a:pt x="25871" y="1536418"/>
                </a:lnTo>
                <a:lnTo>
                  <a:pt x="35648" y="1581284"/>
                </a:lnTo>
                <a:lnTo>
                  <a:pt x="46933" y="1625728"/>
                </a:lnTo>
                <a:lnTo>
                  <a:pt x="59706" y="1669713"/>
                </a:lnTo>
                <a:lnTo>
                  <a:pt x="73945" y="1713196"/>
                </a:lnTo>
                <a:lnTo>
                  <a:pt x="89632" y="1756140"/>
                </a:lnTo>
                <a:lnTo>
                  <a:pt x="106746" y="1798504"/>
                </a:lnTo>
                <a:lnTo>
                  <a:pt x="125267" y="1840247"/>
                </a:lnTo>
                <a:lnTo>
                  <a:pt x="145174" y="1881331"/>
                </a:lnTo>
                <a:lnTo>
                  <a:pt x="166448" y="1921715"/>
                </a:lnTo>
                <a:lnTo>
                  <a:pt x="189068" y="1961359"/>
                </a:lnTo>
                <a:lnTo>
                  <a:pt x="213014" y="2000223"/>
                </a:lnTo>
                <a:lnTo>
                  <a:pt x="238266" y="2038268"/>
                </a:lnTo>
                <a:lnTo>
                  <a:pt x="264804" y="2075454"/>
                </a:lnTo>
                <a:lnTo>
                  <a:pt x="292608" y="2111740"/>
                </a:lnTo>
                <a:lnTo>
                  <a:pt x="321657" y="2147087"/>
                </a:lnTo>
                <a:lnTo>
                  <a:pt x="351932" y="2181454"/>
                </a:lnTo>
                <a:lnTo>
                  <a:pt x="383411" y="2214803"/>
                </a:lnTo>
                <a:lnTo>
                  <a:pt x="416076" y="2247093"/>
                </a:lnTo>
                <a:lnTo>
                  <a:pt x="449905" y="2278284"/>
                </a:lnTo>
                <a:lnTo>
                  <a:pt x="484879" y="2308336"/>
                </a:lnTo>
                <a:lnTo>
                  <a:pt x="520977" y="2337209"/>
                </a:lnTo>
                <a:lnTo>
                  <a:pt x="558180" y="2364864"/>
                </a:lnTo>
                <a:lnTo>
                  <a:pt x="596466" y="2391260"/>
                </a:lnTo>
                <a:lnTo>
                  <a:pt x="635817" y="2416358"/>
                </a:lnTo>
                <a:lnTo>
                  <a:pt x="676211" y="2440118"/>
                </a:lnTo>
                <a:lnTo>
                  <a:pt x="717629" y="2462500"/>
                </a:lnTo>
                <a:lnTo>
                  <a:pt x="760051" y="2483463"/>
                </a:lnTo>
                <a:lnTo>
                  <a:pt x="803455" y="2502969"/>
                </a:lnTo>
                <a:lnTo>
                  <a:pt x="847823" y="2520976"/>
                </a:lnTo>
                <a:lnTo>
                  <a:pt x="893134" y="2537446"/>
                </a:lnTo>
                <a:lnTo>
                  <a:pt x="938970" y="2552213"/>
                </a:lnTo>
                <a:lnTo>
                  <a:pt x="984903" y="2565153"/>
                </a:lnTo>
                <a:lnTo>
                  <a:pt x="1030893" y="2576284"/>
                </a:lnTo>
                <a:lnTo>
                  <a:pt x="1076902" y="2585626"/>
                </a:lnTo>
                <a:lnTo>
                  <a:pt x="1122892" y="2593200"/>
                </a:lnTo>
                <a:lnTo>
                  <a:pt x="1168823" y="2599025"/>
                </a:lnTo>
                <a:lnTo>
                  <a:pt x="1214658" y="2603121"/>
                </a:lnTo>
                <a:lnTo>
                  <a:pt x="1260358" y="2605507"/>
                </a:lnTo>
                <a:lnTo>
                  <a:pt x="1305883" y="2606204"/>
                </a:lnTo>
                <a:lnTo>
                  <a:pt x="1351196" y="2605231"/>
                </a:lnTo>
                <a:lnTo>
                  <a:pt x="1396258" y="2602607"/>
                </a:lnTo>
                <a:lnTo>
                  <a:pt x="1441030" y="2598354"/>
                </a:lnTo>
                <a:lnTo>
                  <a:pt x="1485474" y="2592490"/>
                </a:lnTo>
                <a:lnTo>
                  <a:pt x="1529551" y="2585035"/>
                </a:lnTo>
                <a:lnTo>
                  <a:pt x="1573223" y="2576009"/>
                </a:lnTo>
                <a:lnTo>
                  <a:pt x="1616450" y="2565432"/>
                </a:lnTo>
                <a:lnTo>
                  <a:pt x="1659195" y="2553324"/>
                </a:lnTo>
                <a:lnTo>
                  <a:pt x="1701418" y="2539703"/>
                </a:lnTo>
                <a:lnTo>
                  <a:pt x="1743082" y="2524591"/>
                </a:lnTo>
                <a:lnTo>
                  <a:pt x="1784147" y="2508006"/>
                </a:lnTo>
                <a:lnTo>
                  <a:pt x="1824576" y="2489969"/>
                </a:lnTo>
                <a:lnTo>
                  <a:pt x="1864328" y="2470500"/>
                </a:lnTo>
                <a:lnTo>
                  <a:pt x="1903366" y="2449617"/>
                </a:lnTo>
                <a:lnTo>
                  <a:pt x="1941652" y="2427342"/>
                </a:lnTo>
                <a:lnTo>
                  <a:pt x="1979146" y="2403693"/>
                </a:lnTo>
                <a:lnTo>
                  <a:pt x="2015810" y="2378690"/>
                </a:lnTo>
                <a:lnTo>
                  <a:pt x="2051606" y="2352353"/>
                </a:lnTo>
                <a:lnTo>
                  <a:pt x="2086494" y="2324703"/>
                </a:lnTo>
                <a:lnTo>
                  <a:pt x="2120437" y="2295758"/>
                </a:lnTo>
                <a:lnTo>
                  <a:pt x="2153395" y="2265539"/>
                </a:lnTo>
                <a:lnTo>
                  <a:pt x="2185330" y="2234064"/>
                </a:lnTo>
                <a:lnTo>
                  <a:pt x="2216204" y="2201355"/>
                </a:lnTo>
                <a:lnTo>
                  <a:pt x="2245978" y="2167430"/>
                </a:lnTo>
                <a:lnTo>
                  <a:pt x="2274613" y="2132310"/>
                </a:lnTo>
                <a:lnTo>
                  <a:pt x="2302070" y="2096015"/>
                </a:lnTo>
                <a:lnTo>
                  <a:pt x="2328312" y="2058563"/>
                </a:lnTo>
                <a:lnTo>
                  <a:pt x="2353299" y="2019975"/>
                </a:lnTo>
                <a:lnTo>
                  <a:pt x="2376993" y="1980271"/>
                </a:lnTo>
                <a:lnTo>
                  <a:pt x="2399355" y="1939470"/>
                </a:lnTo>
                <a:lnTo>
                  <a:pt x="2420348" y="1897592"/>
                </a:lnTo>
                <a:lnTo>
                  <a:pt x="2439931" y="1854657"/>
                </a:lnTo>
                <a:lnTo>
                  <a:pt x="2458066" y="1810684"/>
                </a:lnTo>
                <a:lnTo>
                  <a:pt x="2474716" y="1765694"/>
                </a:lnTo>
                <a:lnTo>
                  <a:pt x="2489841" y="1719706"/>
                </a:lnTo>
                <a:lnTo>
                  <a:pt x="2183289" y="1614652"/>
                </a:lnTo>
                <a:lnTo>
                  <a:pt x="2167772" y="1662280"/>
                </a:lnTo>
                <a:lnTo>
                  <a:pt x="2149917" y="1708805"/>
                </a:lnTo>
                <a:lnTo>
                  <a:pt x="2129775" y="1754146"/>
                </a:lnTo>
                <a:lnTo>
                  <a:pt x="2107401" y="1798219"/>
                </a:lnTo>
                <a:lnTo>
                  <a:pt x="2082848" y="1840942"/>
                </a:lnTo>
                <a:lnTo>
                  <a:pt x="2056169" y="1882232"/>
                </a:lnTo>
                <a:lnTo>
                  <a:pt x="2027418" y="1922007"/>
                </a:lnTo>
                <a:lnTo>
                  <a:pt x="1996647" y="1960183"/>
                </a:lnTo>
                <a:lnTo>
                  <a:pt x="1963910" y="1996678"/>
                </a:lnTo>
                <a:lnTo>
                  <a:pt x="1929260" y="2031410"/>
                </a:lnTo>
                <a:lnTo>
                  <a:pt x="1892751" y="2064295"/>
                </a:lnTo>
                <a:lnTo>
                  <a:pt x="1856001" y="2094081"/>
                </a:lnTo>
                <a:lnTo>
                  <a:pt x="1818217" y="2121642"/>
                </a:lnTo>
                <a:lnTo>
                  <a:pt x="1779477" y="2146988"/>
                </a:lnTo>
                <a:lnTo>
                  <a:pt x="1739856" y="2170127"/>
                </a:lnTo>
                <a:lnTo>
                  <a:pt x="1699433" y="2191067"/>
                </a:lnTo>
                <a:lnTo>
                  <a:pt x="1658283" y="2209817"/>
                </a:lnTo>
                <a:lnTo>
                  <a:pt x="1616483" y="2226384"/>
                </a:lnTo>
                <a:lnTo>
                  <a:pt x="1574110" y="2240777"/>
                </a:lnTo>
                <a:lnTo>
                  <a:pt x="1531241" y="2253005"/>
                </a:lnTo>
                <a:lnTo>
                  <a:pt x="1487952" y="2263076"/>
                </a:lnTo>
                <a:lnTo>
                  <a:pt x="1444321" y="2270998"/>
                </a:lnTo>
                <a:lnTo>
                  <a:pt x="1400423" y="2276780"/>
                </a:lnTo>
                <a:lnTo>
                  <a:pt x="1356337" y="2280430"/>
                </a:lnTo>
                <a:lnTo>
                  <a:pt x="1312138" y="2281956"/>
                </a:lnTo>
                <a:lnTo>
                  <a:pt x="1267903" y="2281366"/>
                </a:lnTo>
                <a:lnTo>
                  <a:pt x="1223709" y="2278670"/>
                </a:lnTo>
                <a:lnTo>
                  <a:pt x="1179633" y="2273875"/>
                </a:lnTo>
                <a:lnTo>
                  <a:pt x="1135751" y="2266990"/>
                </a:lnTo>
                <a:lnTo>
                  <a:pt x="1092141" y="2258022"/>
                </a:lnTo>
                <a:lnTo>
                  <a:pt x="1048879" y="2246981"/>
                </a:lnTo>
                <a:lnTo>
                  <a:pt x="1006042" y="2233875"/>
                </a:lnTo>
                <a:lnTo>
                  <a:pt x="963706" y="2218712"/>
                </a:lnTo>
                <a:lnTo>
                  <a:pt x="921948" y="2201500"/>
                </a:lnTo>
                <a:lnTo>
                  <a:pt x="880845" y="2182249"/>
                </a:lnTo>
                <a:lnTo>
                  <a:pt x="840475" y="2160965"/>
                </a:lnTo>
                <a:lnTo>
                  <a:pt x="800912" y="2137658"/>
                </a:lnTo>
                <a:lnTo>
                  <a:pt x="762235" y="2112335"/>
                </a:lnTo>
                <a:lnTo>
                  <a:pt x="724521" y="2085006"/>
                </a:lnTo>
                <a:lnTo>
                  <a:pt x="687844" y="2055678"/>
                </a:lnTo>
                <a:lnTo>
                  <a:pt x="652284" y="2024360"/>
                </a:lnTo>
                <a:lnTo>
                  <a:pt x="617916" y="1991061"/>
                </a:lnTo>
                <a:lnTo>
                  <a:pt x="584817" y="1955788"/>
                </a:lnTo>
                <a:lnTo>
                  <a:pt x="553063" y="1918550"/>
                </a:lnTo>
                <a:lnTo>
                  <a:pt x="523075" y="1879806"/>
                </a:lnTo>
                <a:lnTo>
                  <a:pt x="495216" y="1840060"/>
                </a:lnTo>
                <a:lnTo>
                  <a:pt x="469481" y="1799393"/>
                </a:lnTo>
                <a:lnTo>
                  <a:pt x="445863" y="1757883"/>
                </a:lnTo>
                <a:lnTo>
                  <a:pt x="424357" y="1715609"/>
                </a:lnTo>
                <a:lnTo>
                  <a:pt x="404957" y="1672650"/>
                </a:lnTo>
                <a:lnTo>
                  <a:pt x="387657" y="1629084"/>
                </a:lnTo>
                <a:lnTo>
                  <a:pt x="372451" y="1584991"/>
                </a:lnTo>
                <a:lnTo>
                  <a:pt x="359333" y="1540449"/>
                </a:lnTo>
                <a:lnTo>
                  <a:pt x="348298" y="1495537"/>
                </a:lnTo>
                <a:lnTo>
                  <a:pt x="339339" y="1450335"/>
                </a:lnTo>
                <a:lnTo>
                  <a:pt x="332450" y="1404920"/>
                </a:lnTo>
                <a:lnTo>
                  <a:pt x="327627" y="1359373"/>
                </a:lnTo>
                <a:lnTo>
                  <a:pt x="324862" y="1313771"/>
                </a:lnTo>
                <a:lnTo>
                  <a:pt x="324150" y="1268193"/>
                </a:lnTo>
                <a:lnTo>
                  <a:pt x="325486" y="1222719"/>
                </a:lnTo>
                <a:lnTo>
                  <a:pt x="328862" y="1177428"/>
                </a:lnTo>
                <a:lnTo>
                  <a:pt x="334274" y="1132397"/>
                </a:lnTo>
                <a:lnTo>
                  <a:pt x="341715" y="1087707"/>
                </a:lnTo>
                <a:lnTo>
                  <a:pt x="351180" y="1043436"/>
                </a:lnTo>
                <a:lnTo>
                  <a:pt x="362663" y="999662"/>
                </a:lnTo>
                <a:lnTo>
                  <a:pt x="376157" y="956466"/>
                </a:lnTo>
                <a:lnTo>
                  <a:pt x="391657" y="913924"/>
                </a:lnTo>
                <a:lnTo>
                  <a:pt x="409157" y="872118"/>
                </a:lnTo>
                <a:lnTo>
                  <a:pt x="428652" y="831124"/>
                </a:lnTo>
                <a:lnTo>
                  <a:pt x="450135" y="791023"/>
                </a:lnTo>
                <a:lnTo>
                  <a:pt x="473600" y="751893"/>
                </a:lnTo>
                <a:lnTo>
                  <a:pt x="499042" y="713813"/>
                </a:lnTo>
                <a:lnTo>
                  <a:pt x="526454" y="676861"/>
                </a:lnTo>
                <a:lnTo>
                  <a:pt x="555831" y="641117"/>
                </a:lnTo>
                <a:lnTo>
                  <a:pt x="587167" y="606660"/>
                </a:lnTo>
                <a:lnTo>
                  <a:pt x="620456" y="573568"/>
                </a:lnTo>
                <a:lnTo>
                  <a:pt x="655692" y="541921"/>
                </a:lnTo>
                <a:lnTo>
                  <a:pt x="692442" y="512135"/>
                </a:lnTo>
                <a:lnTo>
                  <a:pt x="730225" y="484574"/>
                </a:lnTo>
                <a:lnTo>
                  <a:pt x="768966" y="459228"/>
                </a:lnTo>
                <a:lnTo>
                  <a:pt x="808586" y="436089"/>
                </a:lnTo>
                <a:lnTo>
                  <a:pt x="849009" y="415149"/>
                </a:lnTo>
                <a:lnTo>
                  <a:pt x="890159" y="396399"/>
                </a:lnTo>
                <a:lnTo>
                  <a:pt x="931959" y="379832"/>
                </a:lnTo>
                <a:lnTo>
                  <a:pt x="974332" y="365439"/>
                </a:lnTo>
                <a:lnTo>
                  <a:pt x="1017201" y="353211"/>
                </a:lnTo>
                <a:lnTo>
                  <a:pt x="1060490" y="343140"/>
                </a:lnTo>
                <a:lnTo>
                  <a:pt x="1104121" y="335217"/>
                </a:lnTo>
                <a:lnTo>
                  <a:pt x="1148018" y="329436"/>
                </a:lnTo>
                <a:lnTo>
                  <a:pt x="1192105" y="325786"/>
                </a:lnTo>
                <a:lnTo>
                  <a:pt x="1236304" y="324260"/>
                </a:lnTo>
                <a:lnTo>
                  <a:pt x="1280539" y="324849"/>
                </a:lnTo>
                <a:lnTo>
                  <a:pt x="1324733" y="327546"/>
                </a:lnTo>
                <a:lnTo>
                  <a:pt x="1368809" y="332341"/>
                </a:lnTo>
                <a:lnTo>
                  <a:pt x="1412690" y="339226"/>
                </a:lnTo>
                <a:lnTo>
                  <a:pt x="1456301" y="348194"/>
                </a:lnTo>
                <a:lnTo>
                  <a:pt x="1499563" y="359234"/>
                </a:lnTo>
                <a:lnTo>
                  <a:pt x="1542400" y="372341"/>
                </a:lnTo>
                <a:lnTo>
                  <a:pt x="1584736" y="387504"/>
                </a:lnTo>
                <a:lnTo>
                  <a:pt x="1626494" y="404715"/>
                </a:lnTo>
                <a:lnTo>
                  <a:pt x="1667596" y="423967"/>
                </a:lnTo>
                <a:lnTo>
                  <a:pt x="1707967" y="445251"/>
                </a:lnTo>
                <a:lnTo>
                  <a:pt x="1747530" y="468558"/>
                </a:lnTo>
                <a:lnTo>
                  <a:pt x="1786207" y="493881"/>
                </a:lnTo>
                <a:lnTo>
                  <a:pt x="1823922" y="521210"/>
                </a:lnTo>
                <a:lnTo>
                  <a:pt x="1860598" y="550538"/>
                </a:lnTo>
                <a:lnTo>
                  <a:pt x="1896158" y="581855"/>
                </a:lnTo>
                <a:lnTo>
                  <a:pt x="1930527" y="615155"/>
                </a:lnTo>
                <a:lnTo>
                  <a:pt x="1963626" y="650428"/>
                </a:lnTo>
                <a:lnTo>
                  <a:pt x="1995379" y="687666"/>
                </a:lnTo>
                <a:lnTo>
                  <a:pt x="1808105" y="748689"/>
                </a:lnTo>
                <a:lnTo>
                  <a:pt x="2326202" y="960271"/>
                </a:lnTo>
                <a:lnTo>
                  <a:pt x="2509310" y="520166"/>
                </a:lnTo>
                <a:lnTo>
                  <a:pt x="2319636" y="581977"/>
                </a:lnTo>
                <a:lnTo>
                  <a:pt x="2290425" y="540183"/>
                </a:lnTo>
                <a:lnTo>
                  <a:pt x="2259756" y="499666"/>
                </a:lnTo>
                <a:lnTo>
                  <a:pt x="2227676" y="460462"/>
                </a:lnTo>
                <a:lnTo>
                  <a:pt x="2194227" y="422604"/>
                </a:lnTo>
                <a:lnTo>
                  <a:pt x="2159455" y="386127"/>
                </a:lnTo>
                <a:lnTo>
                  <a:pt x="2123406" y="351066"/>
                </a:lnTo>
                <a:lnTo>
                  <a:pt x="2086123" y="317456"/>
                </a:lnTo>
                <a:lnTo>
                  <a:pt x="2047651" y="285331"/>
                </a:lnTo>
                <a:lnTo>
                  <a:pt x="2008036" y="254726"/>
                </a:lnTo>
                <a:lnTo>
                  <a:pt x="1967321" y="225675"/>
                </a:lnTo>
                <a:lnTo>
                  <a:pt x="1925553" y="198213"/>
                </a:lnTo>
                <a:lnTo>
                  <a:pt x="1882775" y="172376"/>
                </a:lnTo>
                <a:lnTo>
                  <a:pt x="1839032" y="148196"/>
                </a:lnTo>
                <a:lnTo>
                  <a:pt x="1794370" y="125710"/>
                </a:lnTo>
                <a:lnTo>
                  <a:pt x="1748832" y="104952"/>
                </a:lnTo>
                <a:lnTo>
                  <a:pt x="1702465" y="85956"/>
                </a:lnTo>
                <a:lnTo>
                  <a:pt x="1655311" y="68757"/>
                </a:lnTo>
                <a:lnTo>
                  <a:pt x="1609475" y="53990"/>
                </a:lnTo>
                <a:lnTo>
                  <a:pt x="1563542" y="41051"/>
                </a:lnTo>
                <a:lnTo>
                  <a:pt x="1517552" y="29920"/>
                </a:lnTo>
                <a:lnTo>
                  <a:pt x="1471542" y="20577"/>
                </a:lnTo>
                <a:lnTo>
                  <a:pt x="1425552" y="13003"/>
                </a:lnTo>
                <a:lnTo>
                  <a:pt x="1379620" y="7178"/>
                </a:lnTo>
                <a:lnTo>
                  <a:pt x="1333785" y="3083"/>
                </a:lnTo>
                <a:lnTo>
                  <a:pt x="1288086" y="696"/>
                </a:lnTo>
                <a:lnTo>
                  <a:pt x="1242560" y="0"/>
                </a:lnTo>
                <a:close/>
              </a:path>
            </a:pathLst>
          </a:custGeom>
          <a:solidFill>
            <a:srgbClr val="7AACC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30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487997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210">
                <a:solidFill>
                  <a:srgbClr val="FFFFFF"/>
                </a:solidFill>
              </a:rPr>
              <a:t>Intro </a:t>
            </a:r>
            <a:r>
              <a:rPr sz="4400" spc="-195">
                <a:solidFill>
                  <a:srgbClr val="FFFFFF"/>
                </a:solidFill>
              </a:rPr>
              <a:t>to</a:t>
            </a:r>
            <a:r>
              <a:rPr sz="4400" spc="-540">
                <a:solidFill>
                  <a:srgbClr val="FFFFFF"/>
                </a:solidFill>
              </a:rPr>
              <a:t> </a:t>
            </a:r>
            <a:r>
              <a:rPr sz="4400" spc="-229">
                <a:solidFill>
                  <a:srgbClr val="FFFFFF"/>
                </a:solidFill>
              </a:rPr>
              <a:t>BearingPoint</a:t>
            </a:r>
            <a:endParaRPr sz="440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26150" y="6456679"/>
            <a:ext cx="1397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36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569658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45"/>
              <a:t>End </a:t>
            </a:r>
            <a:r>
              <a:rPr spc="-105"/>
              <a:t>to </a:t>
            </a:r>
            <a:r>
              <a:rPr spc="-140"/>
              <a:t>end </a:t>
            </a:r>
            <a:r>
              <a:rPr spc="-185"/>
              <a:t>Azure </a:t>
            </a:r>
            <a:r>
              <a:rPr spc="-165"/>
              <a:t>architecture </a:t>
            </a:r>
            <a:r>
              <a:rPr spc="-140"/>
              <a:t>for </a:t>
            </a:r>
            <a:r>
              <a:rPr spc="-130"/>
              <a:t>IoT </a:t>
            </a:r>
            <a:r>
              <a:rPr spc="-5"/>
              <a:t>ML</a:t>
            </a:r>
            <a:r>
              <a:rPr spc="-545"/>
              <a:t> </a:t>
            </a:r>
            <a:r>
              <a:rPr spc="-90"/>
              <a:t>Ops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619125" y="1203909"/>
            <a:ext cx="10483215" cy="5096510"/>
            <a:chOff x="619125" y="1203909"/>
            <a:chExt cx="10483215" cy="5096510"/>
          </a:xfrm>
        </p:grpSpPr>
        <p:sp>
          <p:nvSpPr>
            <p:cNvPr id="5" name="object 5"/>
            <p:cNvSpPr/>
            <p:nvPr/>
          </p:nvSpPr>
          <p:spPr>
            <a:xfrm>
              <a:off x="6061316" y="4516793"/>
              <a:ext cx="5036185" cy="1779270"/>
            </a:xfrm>
            <a:custGeom>
              <a:avLst/>
              <a:gdLst/>
              <a:ahLst/>
              <a:cxnLst/>
              <a:rect l="l" t="t" r="r" b="b"/>
              <a:pathLst>
                <a:path w="5036184" h="1779270">
                  <a:moveTo>
                    <a:pt x="0" y="0"/>
                  </a:moveTo>
                  <a:lnTo>
                    <a:pt x="5035882" y="0"/>
                  </a:lnTo>
                  <a:lnTo>
                    <a:pt x="5035882" y="1778661"/>
                  </a:lnTo>
                  <a:lnTo>
                    <a:pt x="0" y="177866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271063" y="4667389"/>
              <a:ext cx="1304925" cy="1598295"/>
            </a:xfrm>
            <a:custGeom>
              <a:avLst/>
              <a:gdLst/>
              <a:ahLst/>
              <a:cxnLst/>
              <a:rect l="l" t="t" r="r" b="b"/>
              <a:pathLst>
                <a:path w="1304925" h="1598295">
                  <a:moveTo>
                    <a:pt x="0" y="0"/>
                  </a:moveTo>
                  <a:lnTo>
                    <a:pt x="1304300" y="0"/>
                  </a:lnTo>
                  <a:lnTo>
                    <a:pt x="1304300" y="1597950"/>
                  </a:lnTo>
                  <a:lnTo>
                    <a:pt x="0" y="159795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030512" y="1776958"/>
              <a:ext cx="3600450" cy="2433320"/>
            </a:xfrm>
            <a:custGeom>
              <a:avLst/>
              <a:gdLst/>
              <a:ahLst/>
              <a:cxnLst/>
              <a:rect l="l" t="t" r="r" b="b"/>
              <a:pathLst>
                <a:path w="3600450" h="2433320">
                  <a:moveTo>
                    <a:pt x="0" y="0"/>
                  </a:moveTo>
                  <a:lnTo>
                    <a:pt x="3600002" y="0"/>
                  </a:lnTo>
                  <a:lnTo>
                    <a:pt x="3600002" y="2433181"/>
                  </a:lnTo>
                  <a:lnTo>
                    <a:pt x="0" y="243318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23887" y="1224787"/>
              <a:ext cx="1800225" cy="3734435"/>
            </a:xfrm>
            <a:custGeom>
              <a:avLst/>
              <a:gdLst/>
              <a:ahLst/>
              <a:cxnLst/>
              <a:rect l="l" t="t" r="r" b="b"/>
              <a:pathLst>
                <a:path w="1800225" h="3734435">
                  <a:moveTo>
                    <a:pt x="0" y="0"/>
                  </a:moveTo>
                  <a:lnTo>
                    <a:pt x="1800001" y="0"/>
                  </a:lnTo>
                  <a:lnTo>
                    <a:pt x="1800001" y="3734402"/>
                  </a:lnTo>
                  <a:lnTo>
                    <a:pt x="0" y="373440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681959" y="1203909"/>
              <a:ext cx="730885" cy="128905"/>
            </a:xfrm>
            <a:custGeom>
              <a:avLst/>
              <a:gdLst/>
              <a:ahLst/>
              <a:cxnLst/>
              <a:rect l="l" t="t" r="r" b="b"/>
              <a:pathLst>
                <a:path w="730885" h="128905">
                  <a:moveTo>
                    <a:pt x="730356" y="0"/>
                  </a:moveTo>
                  <a:lnTo>
                    <a:pt x="0" y="0"/>
                  </a:lnTo>
                  <a:lnTo>
                    <a:pt x="0" y="128892"/>
                  </a:lnTo>
                  <a:lnTo>
                    <a:pt x="730356" y="128892"/>
                  </a:lnTo>
                  <a:lnTo>
                    <a:pt x="7303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5130774" y="2822448"/>
            <a:ext cx="61150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latin typeface="Trebuchet MS"/>
                <a:cs typeface="Trebuchet MS"/>
              </a:rPr>
              <a:t>Event</a:t>
            </a:r>
            <a:r>
              <a:rPr sz="1100" spc="-150">
                <a:latin typeface="Trebuchet MS"/>
                <a:cs typeface="Trebuchet MS"/>
              </a:rPr>
              <a:t> </a:t>
            </a:r>
            <a:r>
              <a:rPr sz="1100" spc="-35">
                <a:latin typeface="Trebuchet MS"/>
                <a:cs typeface="Trebuchet MS"/>
              </a:rPr>
              <a:t>Hub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918504" y="2822448"/>
            <a:ext cx="62166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latin typeface="Trebuchet MS"/>
                <a:cs typeface="Trebuchet MS"/>
              </a:rPr>
              <a:t>Event</a:t>
            </a:r>
            <a:r>
              <a:rPr sz="1100" spc="-145">
                <a:latin typeface="Trebuchet MS"/>
                <a:cs typeface="Trebuchet MS"/>
              </a:rPr>
              <a:t> </a:t>
            </a:r>
            <a:r>
              <a:rPr sz="1100" spc="-50">
                <a:latin typeface="Trebuchet MS"/>
                <a:cs typeface="Trebuchet MS"/>
              </a:rPr>
              <a:t>Grid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201517" y="3855720"/>
            <a:ext cx="467359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5">
                <a:latin typeface="Trebuchet MS"/>
                <a:cs typeface="Trebuchet MS"/>
              </a:rPr>
              <a:t>IoT</a:t>
            </a:r>
            <a:r>
              <a:rPr sz="1100" spc="-140">
                <a:latin typeface="Trebuchet MS"/>
                <a:cs typeface="Trebuchet MS"/>
              </a:rPr>
              <a:t> </a:t>
            </a:r>
            <a:r>
              <a:rPr sz="1100" spc="-35">
                <a:latin typeface="Trebuchet MS"/>
                <a:cs typeface="Trebuchet MS"/>
              </a:rPr>
              <a:t>Hub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7266699" y="1726552"/>
            <a:ext cx="1809750" cy="2072005"/>
            <a:chOff x="7266699" y="1726552"/>
            <a:chExt cx="1809750" cy="2072005"/>
          </a:xfrm>
        </p:grpSpPr>
        <p:sp>
          <p:nvSpPr>
            <p:cNvPr id="14" name="object 14"/>
            <p:cNvSpPr/>
            <p:nvPr/>
          </p:nvSpPr>
          <p:spPr>
            <a:xfrm>
              <a:off x="7271461" y="1731314"/>
              <a:ext cx="1800225" cy="2062480"/>
            </a:xfrm>
            <a:custGeom>
              <a:avLst/>
              <a:gdLst/>
              <a:ahLst/>
              <a:cxnLst/>
              <a:rect l="l" t="t" r="r" b="b"/>
              <a:pathLst>
                <a:path w="1800225" h="2062479">
                  <a:moveTo>
                    <a:pt x="0" y="0"/>
                  </a:moveTo>
                  <a:lnTo>
                    <a:pt x="1800001" y="0"/>
                  </a:lnTo>
                  <a:lnTo>
                    <a:pt x="1800001" y="2061941"/>
                  </a:lnTo>
                  <a:lnTo>
                    <a:pt x="0" y="206194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583424" y="3008376"/>
              <a:ext cx="426720" cy="42672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7346733" y="3358896"/>
            <a:ext cx="970915" cy="3854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307975">
              <a:lnSpc>
                <a:spcPct val="107300"/>
              </a:lnSpc>
              <a:spcBef>
                <a:spcPts val="100"/>
              </a:spcBef>
            </a:pPr>
            <a:r>
              <a:rPr sz="1100" spc="-45">
                <a:latin typeface="Trebuchet MS"/>
                <a:cs typeface="Trebuchet MS"/>
              </a:rPr>
              <a:t>Azure  </a:t>
            </a:r>
            <a:r>
              <a:rPr sz="1100" spc="-50">
                <a:latin typeface="Trebuchet MS"/>
                <a:cs typeface="Trebuchet MS"/>
              </a:rPr>
              <a:t>Stream</a:t>
            </a:r>
            <a:r>
              <a:rPr sz="1100" spc="-140">
                <a:latin typeface="Trebuchet MS"/>
                <a:cs typeface="Trebuchet MS"/>
              </a:rPr>
              <a:t> </a:t>
            </a:r>
            <a:r>
              <a:rPr sz="1100" spc="-55">
                <a:latin typeface="Trebuchet MS"/>
                <a:cs typeface="Trebuchet MS"/>
              </a:rPr>
              <a:t>Analytic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7776349" y="1786127"/>
            <a:ext cx="1142365" cy="1115695"/>
            <a:chOff x="7776349" y="1786127"/>
            <a:chExt cx="1142365" cy="1115695"/>
          </a:xfrm>
        </p:grpSpPr>
        <p:sp>
          <p:nvSpPr>
            <p:cNvPr id="18" name="object 18"/>
            <p:cNvSpPr/>
            <p:nvPr/>
          </p:nvSpPr>
          <p:spPr>
            <a:xfrm>
              <a:off x="8522207" y="1786127"/>
              <a:ext cx="396240" cy="42672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7900250" y="2679763"/>
              <a:ext cx="76200" cy="22203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776349" y="2664205"/>
              <a:ext cx="76200" cy="22203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7247661" y="2154935"/>
            <a:ext cx="1927860" cy="3790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4960" marR="5080" indent="-302895">
              <a:lnSpc>
                <a:spcPct val="105500"/>
              </a:lnSpc>
              <a:spcBef>
                <a:spcPts val="100"/>
              </a:spcBef>
              <a:tabLst>
                <a:tab pos="1244600" algn="l"/>
              </a:tabLst>
            </a:pPr>
            <a:r>
              <a:rPr sz="1100" spc="-45">
                <a:latin typeface="Trebuchet MS"/>
                <a:cs typeface="Trebuchet MS"/>
              </a:rPr>
              <a:t>Azure </a:t>
            </a:r>
            <a:r>
              <a:rPr sz="1100" spc="-50">
                <a:latin typeface="Trebuchet MS"/>
                <a:cs typeface="Trebuchet MS"/>
              </a:rPr>
              <a:t>Kubernetes </a:t>
            </a:r>
            <a:r>
              <a:rPr sz="1100" spc="-45">
                <a:latin typeface="Trebuchet MS"/>
                <a:cs typeface="Trebuchet MS"/>
              </a:rPr>
              <a:t>Azure</a:t>
            </a:r>
            <a:r>
              <a:rPr sz="1100" spc="-135">
                <a:latin typeface="Trebuchet MS"/>
                <a:cs typeface="Trebuchet MS"/>
              </a:rPr>
              <a:t> </a:t>
            </a:r>
            <a:r>
              <a:rPr sz="1100" spc="-25">
                <a:latin typeface="Trebuchet MS"/>
                <a:cs typeface="Trebuchet MS"/>
              </a:rPr>
              <a:t>Machine  </a:t>
            </a:r>
            <a:r>
              <a:rPr sz="1100" spc="-55">
                <a:latin typeface="Trebuchet MS"/>
                <a:cs typeface="Trebuchet MS"/>
              </a:rPr>
              <a:t>Service	Learning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7340396" y="1677682"/>
            <a:ext cx="782955" cy="621030"/>
            <a:chOff x="7340396" y="1677682"/>
            <a:chExt cx="782955" cy="621030"/>
          </a:xfrm>
        </p:grpSpPr>
        <p:sp>
          <p:nvSpPr>
            <p:cNvPr id="23" name="object 23"/>
            <p:cNvSpPr/>
            <p:nvPr/>
          </p:nvSpPr>
          <p:spPr>
            <a:xfrm>
              <a:off x="7620000" y="1795271"/>
              <a:ext cx="502920" cy="50292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7340396" y="1677682"/>
              <a:ext cx="772795" cy="136525"/>
            </a:xfrm>
            <a:custGeom>
              <a:avLst/>
              <a:gdLst/>
              <a:ahLst/>
              <a:cxnLst/>
              <a:rect l="l" t="t" r="r" b="b"/>
              <a:pathLst>
                <a:path w="772795" h="136525">
                  <a:moveTo>
                    <a:pt x="772756" y="0"/>
                  </a:moveTo>
                  <a:lnTo>
                    <a:pt x="0" y="0"/>
                  </a:lnTo>
                  <a:lnTo>
                    <a:pt x="0" y="135915"/>
                  </a:lnTo>
                  <a:lnTo>
                    <a:pt x="772756" y="135915"/>
                  </a:lnTo>
                  <a:lnTo>
                    <a:pt x="7727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7450543" y="1636776"/>
            <a:ext cx="55308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60">
                <a:solidFill>
                  <a:srgbClr val="6C03A8"/>
                </a:solidFill>
                <a:latin typeface="Trebuchet MS"/>
                <a:cs typeface="Trebuchet MS"/>
              </a:rPr>
              <a:t>Analytic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4330026" y="1614208"/>
            <a:ext cx="7139940" cy="3985260"/>
            <a:chOff x="4330026" y="1614208"/>
            <a:chExt cx="7139940" cy="3985260"/>
          </a:xfrm>
        </p:grpSpPr>
        <p:sp>
          <p:nvSpPr>
            <p:cNvPr id="27" name="object 27"/>
            <p:cNvSpPr/>
            <p:nvPr/>
          </p:nvSpPr>
          <p:spPr>
            <a:xfrm>
              <a:off x="4330026" y="5522976"/>
              <a:ext cx="1991995" cy="76200"/>
            </a:xfrm>
            <a:custGeom>
              <a:avLst/>
              <a:gdLst/>
              <a:ahLst/>
              <a:cxnLst/>
              <a:rect l="l" t="t" r="r" b="b"/>
              <a:pathLst>
                <a:path w="1991995" h="76200">
                  <a:moveTo>
                    <a:pt x="76200" y="28562"/>
                  </a:moveTo>
                  <a:lnTo>
                    <a:pt x="0" y="28562"/>
                  </a:lnTo>
                  <a:lnTo>
                    <a:pt x="0" y="47612"/>
                  </a:lnTo>
                  <a:lnTo>
                    <a:pt x="76200" y="47612"/>
                  </a:lnTo>
                  <a:lnTo>
                    <a:pt x="76200" y="28562"/>
                  </a:lnTo>
                  <a:close/>
                </a:path>
                <a:path w="1991995" h="76200">
                  <a:moveTo>
                    <a:pt x="209550" y="28562"/>
                  </a:moveTo>
                  <a:lnTo>
                    <a:pt x="133350" y="28562"/>
                  </a:lnTo>
                  <a:lnTo>
                    <a:pt x="133350" y="47612"/>
                  </a:lnTo>
                  <a:lnTo>
                    <a:pt x="209550" y="47612"/>
                  </a:lnTo>
                  <a:lnTo>
                    <a:pt x="209550" y="28562"/>
                  </a:lnTo>
                  <a:close/>
                </a:path>
                <a:path w="1991995" h="76200">
                  <a:moveTo>
                    <a:pt x="342900" y="28562"/>
                  </a:moveTo>
                  <a:lnTo>
                    <a:pt x="266700" y="28562"/>
                  </a:lnTo>
                  <a:lnTo>
                    <a:pt x="266700" y="47612"/>
                  </a:lnTo>
                  <a:lnTo>
                    <a:pt x="342900" y="47612"/>
                  </a:lnTo>
                  <a:lnTo>
                    <a:pt x="342900" y="28562"/>
                  </a:lnTo>
                  <a:close/>
                </a:path>
                <a:path w="1991995" h="76200">
                  <a:moveTo>
                    <a:pt x="476250" y="28562"/>
                  </a:moveTo>
                  <a:lnTo>
                    <a:pt x="400050" y="28562"/>
                  </a:lnTo>
                  <a:lnTo>
                    <a:pt x="400050" y="47612"/>
                  </a:lnTo>
                  <a:lnTo>
                    <a:pt x="476250" y="47625"/>
                  </a:lnTo>
                  <a:lnTo>
                    <a:pt x="476250" y="28562"/>
                  </a:lnTo>
                  <a:close/>
                </a:path>
                <a:path w="1991995" h="76200">
                  <a:moveTo>
                    <a:pt x="609600" y="28562"/>
                  </a:moveTo>
                  <a:lnTo>
                    <a:pt x="533400" y="28562"/>
                  </a:lnTo>
                  <a:lnTo>
                    <a:pt x="533400" y="47625"/>
                  </a:lnTo>
                  <a:lnTo>
                    <a:pt x="609600" y="47625"/>
                  </a:lnTo>
                  <a:lnTo>
                    <a:pt x="609600" y="28562"/>
                  </a:lnTo>
                  <a:close/>
                </a:path>
                <a:path w="1991995" h="76200">
                  <a:moveTo>
                    <a:pt x="742950" y="28562"/>
                  </a:moveTo>
                  <a:lnTo>
                    <a:pt x="666750" y="28562"/>
                  </a:lnTo>
                  <a:lnTo>
                    <a:pt x="666750" y="47625"/>
                  </a:lnTo>
                  <a:lnTo>
                    <a:pt x="742950" y="47625"/>
                  </a:lnTo>
                  <a:lnTo>
                    <a:pt x="742950" y="28562"/>
                  </a:lnTo>
                  <a:close/>
                </a:path>
                <a:path w="1991995" h="76200">
                  <a:moveTo>
                    <a:pt x="876300" y="28562"/>
                  </a:moveTo>
                  <a:lnTo>
                    <a:pt x="800100" y="28562"/>
                  </a:lnTo>
                  <a:lnTo>
                    <a:pt x="800100" y="47625"/>
                  </a:lnTo>
                  <a:lnTo>
                    <a:pt x="876300" y="47625"/>
                  </a:lnTo>
                  <a:lnTo>
                    <a:pt x="876300" y="28562"/>
                  </a:lnTo>
                  <a:close/>
                </a:path>
                <a:path w="1991995" h="76200">
                  <a:moveTo>
                    <a:pt x="1009650" y="28562"/>
                  </a:moveTo>
                  <a:lnTo>
                    <a:pt x="933450" y="28562"/>
                  </a:lnTo>
                  <a:lnTo>
                    <a:pt x="933450" y="47625"/>
                  </a:lnTo>
                  <a:lnTo>
                    <a:pt x="1009650" y="47625"/>
                  </a:lnTo>
                  <a:lnTo>
                    <a:pt x="1009650" y="28562"/>
                  </a:lnTo>
                  <a:close/>
                </a:path>
                <a:path w="1991995" h="76200">
                  <a:moveTo>
                    <a:pt x="1143000" y="28562"/>
                  </a:moveTo>
                  <a:lnTo>
                    <a:pt x="1066800" y="28562"/>
                  </a:lnTo>
                  <a:lnTo>
                    <a:pt x="1066800" y="47625"/>
                  </a:lnTo>
                  <a:lnTo>
                    <a:pt x="1143000" y="47625"/>
                  </a:lnTo>
                  <a:lnTo>
                    <a:pt x="1143000" y="28562"/>
                  </a:lnTo>
                  <a:close/>
                </a:path>
                <a:path w="1991995" h="76200">
                  <a:moveTo>
                    <a:pt x="1276350" y="28562"/>
                  </a:moveTo>
                  <a:lnTo>
                    <a:pt x="1200150" y="28562"/>
                  </a:lnTo>
                  <a:lnTo>
                    <a:pt x="1200150" y="47625"/>
                  </a:lnTo>
                  <a:lnTo>
                    <a:pt x="1276350" y="47625"/>
                  </a:lnTo>
                  <a:lnTo>
                    <a:pt x="1276350" y="28562"/>
                  </a:lnTo>
                  <a:close/>
                </a:path>
                <a:path w="1991995" h="76200">
                  <a:moveTo>
                    <a:pt x="1409700" y="28562"/>
                  </a:moveTo>
                  <a:lnTo>
                    <a:pt x="1333500" y="28562"/>
                  </a:lnTo>
                  <a:lnTo>
                    <a:pt x="1333500" y="47625"/>
                  </a:lnTo>
                  <a:lnTo>
                    <a:pt x="1409700" y="47625"/>
                  </a:lnTo>
                  <a:lnTo>
                    <a:pt x="1409700" y="28562"/>
                  </a:lnTo>
                  <a:close/>
                </a:path>
                <a:path w="1991995" h="76200">
                  <a:moveTo>
                    <a:pt x="1543050" y="28562"/>
                  </a:moveTo>
                  <a:lnTo>
                    <a:pt x="1466850" y="28562"/>
                  </a:lnTo>
                  <a:lnTo>
                    <a:pt x="1466850" y="47625"/>
                  </a:lnTo>
                  <a:lnTo>
                    <a:pt x="1543050" y="47625"/>
                  </a:lnTo>
                  <a:lnTo>
                    <a:pt x="1543050" y="28562"/>
                  </a:lnTo>
                  <a:close/>
                </a:path>
                <a:path w="1991995" h="76200">
                  <a:moveTo>
                    <a:pt x="1676400" y="28562"/>
                  </a:moveTo>
                  <a:lnTo>
                    <a:pt x="1600200" y="28562"/>
                  </a:lnTo>
                  <a:lnTo>
                    <a:pt x="1600200" y="47625"/>
                  </a:lnTo>
                  <a:lnTo>
                    <a:pt x="1676400" y="47625"/>
                  </a:lnTo>
                  <a:lnTo>
                    <a:pt x="1676400" y="28562"/>
                  </a:lnTo>
                  <a:close/>
                </a:path>
                <a:path w="1991995" h="76200">
                  <a:moveTo>
                    <a:pt x="1809750" y="28562"/>
                  </a:moveTo>
                  <a:lnTo>
                    <a:pt x="1733550" y="28562"/>
                  </a:lnTo>
                  <a:lnTo>
                    <a:pt x="1733550" y="47625"/>
                  </a:lnTo>
                  <a:lnTo>
                    <a:pt x="1809750" y="47625"/>
                  </a:lnTo>
                  <a:lnTo>
                    <a:pt x="1809750" y="28562"/>
                  </a:lnTo>
                  <a:close/>
                </a:path>
                <a:path w="1991995" h="76200">
                  <a:moveTo>
                    <a:pt x="1915756" y="0"/>
                  </a:moveTo>
                  <a:lnTo>
                    <a:pt x="1915756" y="76193"/>
                  </a:lnTo>
                  <a:lnTo>
                    <a:pt x="1972903" y="47625"/>
                  </a:lnTo>
                  <a:lnTo>
                    <a:pt x="1928456" y="47625"/>
                  </a:lnTo>
                  <a:lnTo>
                    <a:pt x="1928456" y="28562"/>
                  </a:lnTo>
                  <a:lnTo>
                    <a:pt x="1972881" y="28562"/>
                  </a:lnTo>
                  <a:lnTo>
                    <a:pt x="1915756" y="0"/>
                  </a:lnTo>
                  <a:close/>
                </a:path>
                <a:path w="1991995" h="76200">
                  <a:moveTo>
                    <a:pt x="1915756" y="28562"/>
                  </a:moveTo>
                  <a:lnTo>
                    <a:pt x="1866900" y="28562"/>
                  </a:lnTo>
                  <a:lnTo>
                    <a:pt x="1866900" y="47625"/>
                  </a:lnTo>
                  <a:lnTo>
                    <a:pt x="1915756" y="47625"/>
                  </a:lnTo>
                  <a:lnTo>
                    <a:pt x="1915756" y="28562"/>
                  </a:lnTo>
                  <a:close/>
                </a:path>
                <a:path w="1991995" h="76200">
                  <a:moveTo>
                    <a:pt x="1972881" y="28562"/>
                  </a:moveTo>
                  <a:lnTo>
                    <a:pt x="1928456" y="28562"/>
                  </a:lnTo>
                  <a:lnTo>
                    <a:pt x="1928456" y="47625"/>
                  </a:lnTo>
                  <a:lnTo>
                    <a:pt x="1972903" y="47625"/>
                  </a:lnTo>
                  <a:lnTo>
                    <a:pt x="1991956" y="38100"/>
                  </a:lnTo>
                  <a:lnTo>
                    <a:pt x="1972881" y="2856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9664636" y="1646745"/>
              <a:ext cx="1800225" cy="2452370"/>
            </a:xfrm>
            <a:custGeom>
              <a:avLst/>
              <a:gdLst/>
              <a:ahLst/>
              <a:cxnLst/>
              <a:rect l="l" t="t" r="r" b="b"/>
              <a:pathLst>
                <a:path w="1800225" h="2452370">
                  <a:moveTo>
                    <a:pt x="0" y="0"/>
                  </a:moveTo>
                  <a:lnTo>
                    <a:pt x="1800001" y="0"/>
                  </a:lnTo>
                  <a:lnTo>
                    <a:pt x="1800001" y="2452321"/>
                  </a:lnTo>
                  <a:lnTo>
                    <a:pt x="0" y="24523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9716490" y="1614208"/>
              <a:ext cx="772795" cy="260985"/>
            </a:xfrm>
            <a:custGeom>
              <a:avLst/>
              <a:gdLst/>
              <a:ahLst/>
              <a:cxnLst/>
              <a:rect l="l" t="t" r="r" b="b"/>
              <a:pathLst>
                <a:path w="772795" h="260985">
                  <a:moveTo>
                    <a:pt x="772756" y="0"/>
                  </a:moveTo>
                  <a:lnTo>
                    <a:pt x="0" y="0"/>
                  </a:lnTo>
                  <a:lnTo>
                    <a:pt x="0" y="260629"/>
                  </a:lnTo>
                  <a:lnTo>
                    <a:pt x="772756" y="260629"/>
                  </a:lnTo>
                  <a:lnTo>
                    <a:pt x="7727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" name="object 30"/>
          <p:cNvGrpSpPr/>
          <p:nvPr/>
        </p:nvGrpSpPr>
        <p:grpSpPr>
          <a:xfrm>
            <a:off x="631243" y="5046243"/>
            <a:ext cx="1809750" cy="1245235"/>
            <a:chOff x="631243" y="5046243"/>
            <a:chExt cx="1809750" cy="1245235"/>
          </a:xfrm>
        </p:grpSpPr>
        <p:sp>
          <p:nvSpPr>
            <p:cNvPr id="31" name="object 31"/>
            <p:cNvSpPr/>
            <p:nvPr/>
          </p:nvSpPr>
          <p:spPr>
            <a:xfrm>
              <a:off x="636005" y="5106149"/>
              <a:ext cx="1800225" cy="1180465"/>
            </a:xfrm>
            <a:custGeom>
              <a:avLst/>
              <a:gdLst/>
              <a:ahLst/>
              <a:cxnLst/>
              <a:rect l="l" t="t" r="r" b="b"/>
              <a:pathLst>
                <a:path w="1800225" h="1180464">
                  <a:moveTo>
                    <a:pt x="0" y="0"/>
                  </a:moveTo>
                  <a:lnTo>
                    <a:pt x="1800001" y="0"/>
                  </a:lnTo>
                  <a:lnTo>
                    <a:pt x="1800001" y="1180380"/>
                  </a:lnTo>
                  <a:lnTo>
                    <a:pt x="0" y="118038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250549" y="5212289"/>
              <a:ext cx="460279" cy="22798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189868" y="5487301"/>
              <a:ext cx="581642" cy="28425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110509" y="5818591"/>
              <a:ext cx="740363" cy="363433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77317" y="5046243"/>
              <a:ext cx="941705" cy="147955"/>
            </a:xfrm>
            <a:custGeom>
              <a:avLst/>
              <a:gdLst/>
              <a:ahLst/>
              <a:cxnLst/>
              <a:rect l="l" t="t" r="r" b="b"/>
              <a:pathLst>
                <a:path w="941705" h="147954">
                  <a:moveTo>
                    <a:pt x="941449" y="0"/>
                  </a:moveTo>
                  <a:lnTo>
                    <a:pt x="0" y="0"/>
                  </a:lnTo>
                  <a:lnTo>
                    <a:pt x="0" y="147739"/>
                  </a:lnTo>
                  <a:lnTo>
                    <a:pt x="941449" y="147739"/>
                  </a:lnTo>
                  <a:lnTo>
                    <a:pt x="94144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9881413" y="1633728"/>
            <a:ext cx="441959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45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100" b="1" spc="-50">
                <a:solidFill>
                  <a:srgbClr val="6C03A8"/>
                </a:solidFill>
                <a:latin typeface="Trebuchet MS"/>
                <a:cs typeface="Trebuchet MS"/>
              </a:rPr>
              <a:t>ut</a:t>
            </a:r>
            <a:r>
              <a:rPr sz="1100" b="1" spc="-60">
                <a:solidFill>
                  <a:srgbClr val="6C03A8"/>
                </a:solidFill>
                <a:latin typeface="Trebuchet MS"/>
                <a:cs typeface="Trebuchet MS"/>
              </a:rPr>
              <a:t>p</a:t>
            </a:r>
            <a:r>
              <a:rPr sz="1100" b="1" spc="-65">
                <a:solidFill>
                  <a:srgbClr val="6C03A8"/>
                </a:solidFill>
                <a:latin typeface="Trebuchet MS"/>
                <a:cs typeface="Trebuchet MS"/>
              </a:rPr>
              <a:t>u</a:t>
            </a:r>
            <a:r>
              <a:rPr sz="1100" b="1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3144443" y="1622691"/>
            <a:ext cx="7528559" cy="2653030"/>
            <a:chOff x="3144443" y="1622691"/>
            <a:chExt cx="7528559" cy="2653030"/>
          </a:xfrm>
        </p:grpSpPr>
        <p:sp>
          <p:nvSpPr>
            <p:cNvPr id="38" name="object 38"/>
            <p:cNvSpPr/>
            <p:nvPr/>
          </p:nvSpPr>
          <p:spPr>
            <a:xfrm>
              <a:off x="4967960" y="2551341"/>
              <a:ext cx="300990" cy="76200"/>
            </a:xfrm>
            <a:custGeom>
              <a:avLst/>
              <a:gdLst/>
              <a:ahLst/>
              <a:cxnLst/>
              <a:rect l="l" t="t" r="r" b="b"/>
              <a:pathLst>
                <a:path w="300989" h="76200">
                  <a:moveTo>
                    <a:pt x="225107" y="0"/>
                  </a:moveTo>
                  <a:lnTo>
                    <a:pt x="224401" y="33335"/>
                  </a:lnTo>
                  <a:lnTo>
                    <a:pt x="237109" y="33604"/>
                  </a:lnTo>
                  <a:lnTo>
                    <a:pt x="236905" y="43116"/>
                  </a:lnTo>
                  <a:lnTo>
                    <a:pt x="224194" y="43116"/>
                  </a:lnTo>
                  <a:lnTo>
                    <a:pt x="223494" y="76187"/>
                  </a:lnTo>
                  <a:lnTo>
                    <a:pt x="293285" y="43116"/>
                  </a:lnTo>
                  <a:lnTo>
                    <a:pt x="236905" y="43116"/>
                  </a:lnTo>
                  <a:lnTo>
                    <a:pt x="224200" y="42848"/>
                  </a:lnTo>
                  <a:lnTo>
                    <a:pt x="293851" y="42848"/>
                  </a:lnTo>
                  <a:lnTo>
                    <a:pt x="300494" y="39700"/>
                  </a:lnTo>
                  <a:lnTo>
                    <a:pt x="225107" y="0"/>
                  </a:lnTo>
                  <a:close/>
                </a:path>
                <a:path w="300989" h="76200">
                  <a:moveTo>
                    <a:pt x="224401" y="33335"/>
                  </a:moveTo>
                  <a:lnTo>
                    <a:pt x="224200" y="42848"/>
                  </a:lnTo>
                  <a:lnTo>
                    <a:pt x="236905" y="43116"/>
                  </a:lnTo>
                  <a:lnTo>
                    <a:pt x="237109" y="33604"/>
                  </a:lnTo>
                  <a:lnTo>
                    <a:pt x="224401" y="33335"/>
                  </a:lnTo>
                  <a:close/>
                </a:path>
                <a:path w="300989" h="76200">
                  <a:moveTo>
                    <a:pt x="203" y="28587"/>
                  </a:moveTo>
                  <a:lnTo>
                    <a:pt x="0" y="38112"/>
                  </a:lnTo>
                  <a:lnTo>
                    <a:pt x="224200" y="42848"/>
                  </a:lnTo>
                  <a:lnTo>
                    <a:pt x="224401" y="33335"/>
                  </a:lnTo>
                  <a:lnTo>
                    <a:pt x="203" y="2858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3279647" y="3392424"/>
              <a:ext cx="420624" cy="414527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430117" y="3937088"/>
              <a:ext cx="4172585" cy="338455"/>
            </a:xfrm>
            <a:custGeom>
              <a:avLst/>
              <a:gdLst/>
              <a:ahLst/>
              <a:cxnLst/>
              <a:rect l="l" t="t" r="r" b="b"/>
              <a:pathLst>
                <a:path w="4172584" h="338454">
                  <a:moveTo>
                    <a:pt x="9525" y="104889"/>
                  </a:moveTo>
                  <a:lnTo>
                    <a:pt x="0" y="104889"/>
                  </a:lnTo>
                  <a:lnTo>
                    <a:pt x="0" y="336118"/>
                  </a:lnTo>
                  <a:lnTo>
                    <a:pt x="2133" y="338251"/>
                  </a:lnTo>
                  <a:lnTo>
                    <a:pt x="3537940" y="338251"/>
                  </a:lnTo>
                  <a:lnTo>
                    <a:pt x="3540074" y="336118"/>
                  </a:lnTo>
                  <a:lnTo>
                    <a:pt x="3540074" y="333489"/>
                  </a:lnTo>
                  <a:lnTo>
                    <a:pt x="9525" y="333489"/>
                  </a:lnTo>
                  <a:lnTo>
                    <a:pt x="4762" y="328726"/>
                  </a:lnTo>
                  <a:lnTo>
                    <a:pt x="9525" y="328726"/>
                  </a:lnTo>
                  <a:lnTo>
                    <a:pt x="9525" y="104889"/>
                  </a:lnTo>
                  <a:close/>
                </a:path>
                <a:path w="4172584" h="338454">
                  <a:moveTo>
                    <a:pt x="9525" y="328726"/>
                  </a:moveTo>
                  <a:lnTo>
                    <a:pt x="4762" y="328726"/>
                  </a:lnTo>
                  <a:lnTo>
                    <a:pt x="9525" y="333489"/>
                  </a:lnTo>
                  <a:lnTo>
                    <a:pt x="9525" y="328726"/>
                  </a:lnTo>
                  <a:close/>
                </a:path>
                <a:path w="4172584" h="338454">
                  <a:moveTo>
                    <a:pt x="3530549" y="328726"/>
                  </a:moveTo>
                  <a:lnTo>
                    <a:pt x="9525" y="328726"/>
                  </a:lnTo>
                  <a:lnTo>
                    <a:pt x="9525" y="333489"/>
                  </a:lnTo>
                  <a:lnTo>
                    <a:pt x="3530549" y="333489"/>
                  </a:lnTo>
                  <a:lnTo>
                    <a:pt x="3530549" y="328726"/>
                  </a:lnTo>
                  <a:close/>
                </a:path>
                <a:path w="4172584" h="338454">
                  <a:moveTo>
                    <a:pt x="4096080" y="33337"/>
                  </a:moveTo>
                  <a:lnTo>
                    <a:pt x="3532682" y="33337"/>
                  </a:lnTo>
                  <a:lnTo>
                    <a:pt x="3530549" y="35471"/>
                  </a:lnTo>
                  <a:lnTo>
                    <a:pt x="3530549" y="333489"/>
                  </a:lnTo>
                  <a:lnTo>
                    <a:pt x="3535311" y="328726"/>
                  </a:lnTo>
                  <a:lnTo>
                    <a:pt x="3540074" y="328726"/>
                  </a:lnTo>
                  <a:lnTo>
                    <a:pt x="3540074" y="42862"/>
                  </a:lnTo>
                  <a:lnTo>
                    <a:pt x="3535311" y="42862"/>
                  </a:lnTo>
                  <a:lnTo>
                    <a:pt x="3540074" y="38100"/>
                  </a:lnTo>
                  <a:lnTo>
                    <a:pt x="4096080" y="38100"/>
                  </a:lnTo>
                  <a:lnTo>
                    <a:pt x="4096080" y="33337"/>
                  </a:lnTo>
                  <a:close/>
                </a:path>
                <a:path w="4172584" h="338454">
                  <a:moveTo>
                    <a:pt x="3540074" y="328726"/>
                  </a:moveTo>
                  <a:lnTo>
                    <a:pt x="3535311" y="328726"/>
                  </a:lnTo>
                  <a:lnTo>
                    <a:pt x="3530549" y="333489"/>
                  </a:lnTo>
                  <a:lnTo>
                    <a:pt x="3540074" y="333489"/>
                  </a:lnTo>
                  <a:lnTo>
                    <a:pt x="3540074" y="328726"/>
                  </a:lnTo>
                  <a:close/>
                </a:path>
                <a:path w="4172584" h="338454">
                  <a:moveTo>
                    <a:pt x="4096080" y="0"/>
                  </a:moveTo>
                  <a:lnTo>
                    <a:pt x="4096080" y="76200"/>
                  </a:lnTo>
                  <a:lnTo>
                    <a:pt x="4162755" y="42862"/>
                  </a:lnTo>
                  <a:lnTo>
                    <a:pt x="4108780" y="42862"/>
                  </a:lnTo>
                  <a:lnTo>
                    <a:pt x="4108780" y="33337"/>
                  </a:lnTo>
                  <a:lnTo>
                    <a:pt x="4162755" y="33337"/>
                  </a:lnTo>
                  <a:lnTo>
                    <a:pt x="4096080" y="0"/>
                  </a:lnTo>
                  <a:close/>
                </a:path>
                <a:path w="4172584" h="338454">
                  <a:moveTo>
                    <a:pt x="3540074" y="38100"/>
                  </a:moveTo>
                  <a:lnTo>
                    <a:pt x="3535311" y="42862"/>
                  </a:lnTo>
                  <a:lnTo>
                    <a:pt x="3540074" y="42862"/>
                  </a:lnTo>
                  <a:lnTo>
                    <a:pt x="3540074" y="38100"/>
                  </a:lnTo>
                  <a:close/>
                </a:path>
                <a:path w="4172584" h="338454">
                  <a:moveTo>
                    <a:pt x="4096080" y="38100"/>
                  </a:moveTo>
                  <a:lnTo>
                    <a:pt x="3540074" y="38100"/>
                  </a:lnTo>
                  <a:lnTo>
                    <a:pt x="3540074" y="42862"/>
                  </a:lnTo>
                  <a:lnTo>
                    <a:pt x="4096080" y="42862"/>
                  </a:lnTo>
                  <a:lnTo>
                    <a:pt x="4096080" y="38100"/>
                  </a:lnTo>
                  <a:close/>
                </a:path>
                <a:path w="4172584" h="338454">
                  <a:moveTo>
                    <a:pt x="4162755" y="33337"/>
                  </a:moveTo>
                  <a:lnTo>
                    <a:pt x="4108780" y="33337"/>
                  </a:lnTo>
                  <a:lnTo>
                    <a:pt x="4108780" y="42862"/>
                  </a:lnTo>
                  <a:lnTo>
                    <a:pt x="4162755" y="42862"/>
                  </a:lnTo>
                  <a:lnTo>
                    <a:pt x="4172280" y="38100"/>
                  </a:lnTo>
                  <a:lnTo>
                    <a:pt x="4162755" y="333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3144443" y="1622691"/>
              <a:ext cx="1186180" cy="259715"/>
            </a:xfrm>
            <a:custGeom>
              <a:avLst/>
              <a:gdLst/>
              <a:ahLst/>
              <a:cxnLst/>
              <a:rect l="l" t="t" r="r" b="b"/>
              <a:pathLst>
                <a:path w="1186179" h="259714">
                  <a:moveTo>
                    <a:pt x="1185583" y="0"/>
                  </a:moveTo>
                  <a:lnTo>
                    <a:pt x="0" y="0"/>
                  </a:lnTo>
                  <a:lnTo>
                    <a:pt x="0" y="259435"/>
                  </a:lnTo>
                  <a:lnTo>
                    <a:pt x="1185583" y="259435"/>
                  </a:lnTo>
                  <a:lnTo>
                    <a:pt x="11855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8185225" y="1954339"/>
              <a:ext cx="245694" cy="7620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8167992" y="2100732"/>
              <a:ext cx="245706" cy="7620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0221595" y="3370542"/>
              <a:ext cx="451178" cy="43061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9960571" y="2987040"/>
            <a:ext cx="120142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40">
                <a:latin typeface="Trebuchet MS"/>
                <a:cs typeface="Trebuchet MS"/>
              </a:rPr>
              <a:t>PowerBI</a:t>
            </a:r>
            <a:r>
              <a:rPr sz="1100" spc="-125">
                <a:latin typeface="Trebuchet MS"/>
                <a:cs typeface="Trebuchet MS"/>
              </a:rPr>
              <a:t> </a:t>
            </a:r>
            <a:r>
              <a:rPr sz="1100" spc="-35">
                <a:latin typeface="Trebuchet MS"/>
                <a:cs typeface="Trebuchet MS"/>
              </a:rPr>
              <a:t>Dashboards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264954" y="1642872"/>
            <a:ext cx="944244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45">
                <a:solidFill>
                  <a:srgbClr val="6C03A8"/>
                </a:solidFill>
                <a:latin typeface="Trebuchet MS"/>
                <a:cs typeface="Trebuchet MS"/>
              </a:rPr>
              <a:t>Data</a:t>
            </a:r>
            <a:r>
              <a:rPr sz="1100" b="1" spc="-15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100" b="1" spc="-60">
                <a:solidFill>
                  <a:srgbClr val="6C03A8"/>
                </a:solidFill>
                <a:latin typeface="Trebuchet MS"/>
                <a:cs typeface="Trebuchet MS"/>
              </a:rPr>
              <a:t>processing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17035" y="5010911"/>
            <a:ext cx="861694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65">
                <a:solidFill>
                  <a:srgbClr val="6C03A8"/>
                </a:solidFill>
                <a:latin typeface="Trebuchet MS"/>
                <a:cs typeface="Trebuchet MS"/>
              </a:rPr>
              <a:t>Other</a:t>
            </a:r>
            <a:r>
              <a:rPr sz="1100" b="1" spc="-13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100" b="1" spc="-55">
                <a:solidFill>
                  <a:srgbClr val="6C03A8"/>
                </a:solidFill>
                <a:latin typeface="Trebuchet MS"/>
                <a:cs typeface="Trebuchet MS"/>
              </a:rPr>
              <a:t>system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786174" y="3184715"/>
            <a:ext cx="1449705" cy="1630680"/>
            <a:chOff x="786174" y="3184715"/>
            <a:chExt cx="1449705" cy="1630680"/>
          </a:xfrm>
        </p:grpSpPr>
        <p:sp>
          <p:nvSpPr>
            <p:cNvPr id="49" name="object 49"/>
            <p:cNvSpPr/>
            <p:nvPr/>
          </p:nvSpPr>
          <p:spPr>
            <a:xfrm>
              <a:off x="790936" y="3370541"/>
              <a:ext cx="1440180" cy="1440180"/>
            </a:xfrm>
            <a:custGeom>
              <a:avLst/>
              <a:gdLst/>
              <a:ahLst/>
              <a:cxnLst/>
              <a:rect l="l" t="t" r="r" b="b"/>
              <a:pathLst>
                <a:path w="1440180" h="1440179">
                  <a:moveTo>
                    <a:pt x="0" y="0"/>
                  </a:moveTo>
                  <a:lnTo>
                    <a:pt x="1440000" y="0"/>
                  </a:lnTo>
                  <a:lnTo>
                    <a:pt x="144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820312" y="3184715"/>
              <a:ext cx="1391920" cy="287020"/>
            </a:xfrm>
            <a:custGeom>
              <a:avLst/>
              <a:gdLst/>
              <a:ahLst/>
              <a:cxnLst/>
              <a:rect l="l" t="t" r="r" b="b"/>
              <a:pathLst>
                <a:path w="1391920" h="287020">
                  <a:moveTo>
                    <a:pt x="1391570" y="0"/>
                  </a:moveTo>
                  <a:lnTo>
                    <a:pt x="0" y="0"/>
                  </a:lnTo>
                  <a:lnTo>
                    <a:pt x="0" y="286905"/>
                  </a:lnTo>
                  <a:lnTo>
                    <a:pt x="1391570" y="286905"/>
                  </a:lnTo>
                  <a:lnTo>
                    <a:pt x="13915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1251780" y="3218688"/>
            <a:ext cx="52959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45">
                <a:solidFill>
                  <a:srgbClr val="4A4A4A"/>
                </a:solidFill>
                <a:latin typeface="Trebuchet MS"/>
                <a:cs typeface="Trebuchet MS"/>
              </a:rPr>
              <a:t>Machine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809296" y="4227576"/>
            <a:ext cx="46291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35">
                <a:latin typeface="Trebuchet MS"/>
                <a:cs typeface="Trebuchet MS"/>
              </a:rPr>
              <a:t>Sensor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896111" y="3669791"/>
            <a:ext cx="1188720" cy="676910"/>
            <a:chOff x="896111" y="3669791"/>
            <a:chExt cx="1188720" cy="676910"/>
          </a:xfrm>
        </p:grpSpPr>
        <p:sp>
          <p:nvSpPr>
            <p:cNvPr id="54" name="object 54"/>
            <p:cNvSpPr/>
            <p:nvPr/>
          </p:nvSpPr>
          <p:spPr>
            <a:xfrm>
              <a:off x="896111" y="3678935"/>
              <a:ext cx="298703" cy="292607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896111" y="4005071"/>
              <a:ext cx="298703" cy="283463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1408175" y="3669791"/>
              <a:ext cx="676656" cy="676656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1400936" y="4227576"/>
            <a:ext cx="735330" cy="345440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5080" indent="40005">
              <a:lnSpc>
                <a:spcPts val="1200"/>
              </a:lnSpc>
              <a:spcBef>
                <a:spcPts val="240"/>
              </a:spcBef>
            </a:pPr>
            <a:r>
              <a:rPr sz="1100" spc="-75">
                <a:latin typeface="Trebuchet MS"/>
                <a:cs typeface="Trebuchet MS"/>
              </a:rPr>
              <a:t>Export </a:t>
            </a:r>
            <a:r>
              <a:rPr sz="1100" spc="-65">
                <a:latin typeface="Trebuchet MS"/>
                <a:cs typeface="Trebuchet MS"/>
              </a:rPr>
              <a:t>tool  </a:t>
            </a:r>
            <a:r>
              <a:rPr sz="1100" spc="-60">
                <a:latin typeface="Trebuchet MS"/>
                <a:cs typeface="Trebuchet MS"/>
              </a:rPr>
              <a:t>from log</a:t>
            </a:r>
            <a:r>
              <a:rPr sz="1100" spc="-270">
                <a:latin typeface="Trebuchet MS"/>
                <a:cs typeface="Trebuchet MS"/>
              </a:rPr>
              <a:t> </a:t>
            </a:r>
            <a:r>
              <a:rPr sz="1100" spc="-70">
                <a:latin typeface="Trebuchet MS"/>
                <a:cs typeface="Trebuchet MS"/>
              </a:rPr>
              <a:t>file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1180939" y="2383535"/>
            <a:ext cx="8484235" cy="1634489"/>
            <a:chOff x="1180939" y="2383535"/>
            <a:chExt cx="8484235" cy="1634489"/>
          </a:xfrm>
        </p:grpSpPr>
        <p:sp>
          <p:nvSpPr>
            <p:cNvPr id="59" name="object 59"/>
            <p:cNvSpPr/>
            <p:nvPr/>
          </p:nvSpPr>
          <p:spPr>
            <a:xfrm>
              <a:off x="1180939" y="3941724"/>
              <a:ext cx="187764" cy="76200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1548383" y="2383535"/>
              <a:ext cx="356616" cy="469391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8025714" y="2834805"/>
              <a:ext cx="1638935" cy="1145540"/>
            </a:xfrm>
            <a:custGeom>
              <a:avLst/>
              <a:gdLst/>
              <a:ahLst/>
              <a:cxnLst/>
              <a:rect l="l" t="t" r="r" b="b"/>
              <a:pathLst>
                <a:path w="1638934" h="1145539">
                  <a:moveTo>
                    <a:pt x="814692" y="1135621"/>
                  </a:moveTo>
                  <a:lnTo>
                    <a:pt x="0" y="1135621"/>
                  </a:lnTo>
                  <a:lnTo>
                    <a:pt x="0" y="1145146"/>
                  </a:lnTo>
                  <a:lnTo>
                    <a:pt x="822083" y="1145146"/>
                  </a:lnTo>
                  <a:lnTo>
                    <a:pt x="824217" y="1143012"/>
                  </a:lnTo>
                  <a:lnTo>
                    <a:pt x="824217" y="1140383"/>
                  </a:lnTo>
                  <a:lnTo>
                    <a:pt x="814692" y="1140383"/>
                  </a:lnTo>
                  <a:lnTo>
                    <a:pt x="814692" y="1135621"/>
                  </a:lnTo>
                  <a:close/>
                </a:path>
                <a:path w="1638934" h="1145539">
                  <a:moveTo>
                    <a:pt x="1562722" y="33337"/>
                  </a:moveTo>
                  <a:lnTo>
                    <a:pt x="816825" y="33337"/>
                  </a:lnTo>
                  <a:lnTo>
                    <a:pt x="814692" y="35471"/>
                  </a:lnTo>
                  <a:lnTo>
                    <a:pt x="814692" y="1140383"/>
                  </a:lnTo>
                  <a:lnTo>
                    <a:pt x="819454" y="1135621"/>
                  </a:lnTo>
                  <a:lnTo>
                    <a:pt x="824217" y="1135621"/>
                  </a:lnTo>
                  <a:lnTo>
                    <a:pt x="824217" y="42862"/>
                  </a:lnTo>
                  <a:lnTo>
                    <a:pt x="819454" y="42862"/>
                  </a:lnTo>
                  <a:lnTo>
                    <a:pt x="824217" y="38100"/>
                  </a:lnTo>
                  <a:lnTo>
                    <a:pt x="1562722" y="38100"/>
                  </a:lnTo>
                  <a:lnTo>
                    <a:pt x="1562722" y="33337"/>
                  </a:lnTo>
                  <a:close/>
                </a:path>
                <a:path w="1638934" h="1145539">
                  <a:moveTo>
                    <a:pt x="824217" y="1135621"/>
                  </a:moveTo>
                  <a:lnTo>
                    <a:pt x="819454" y="1135621"/>
                  </a:lnTo>
                  <a:lnTo>
                    <a:pt x="814692" y="1140383"/>
                  </a:lnTo>
                  <a:lnTo>
                    <a:pt x="824217" y="1140383"/>
                  </a:lnTo>
                  <a:lnTo>
                    <a:pt x="824217" y="1135621"/>
                  </a:lnTo>
                  <a:close/>
                </a:path>
                <a:path w="1638934" h="1145539">
                  <a:moveTo>
                    <a:pt x="1562722" y="0"/>
                  </a:moveTo>
                  <a:lnTo>
                    <a:pt x="1562722" y="76200"/>
                  </a:lnTo>
                  <a:lnTo>
                    <a:pt x="1629397" y="42862"/>
                  </a:lnTo>
                  <a:lnTo>
                    <a:pt x="1575422" y="42862"/>
                  </a:lnTo>
                  <a:lnTo>
                    <a:pt x="1575422" y="33337"/>
                  </a:lnTo>
                  <a:lnTo>
                    <a:pt x="1629397" y="33337"/>
                  </a:lnTo>
                  <a:lnTo>
                    <a:pt x="1562722" y="0"/>
                  </a:lnTo>
                  <a:close/>
                </a:path>
                <a:path w="1638934" h="1145539">
                  <a:moveTo>
                    <a:pt x="824217" y="38100"/>
                  </a:moveTo>
                  <a:lnTo>
                    <a:pt x="819454" y="42862"/>
                  </a:lnTo>
                  <a:lnTo>
                    <a:pt x="824217" y="42862"/>
                  </a:lnTo>
                  <a:lnTo>
                    <a:pt x="824217" y="38100"/>
                  </a:lnTo>
                  <a:close/>
                </a:path>
                <a:path w="1638934" h="1145539">
                  <a:moveTo>
                    <a:pt x="1562722" y="38100"/>
                  </a:moveTo>
                  <a:lnTo>
                    <a:pt x="824217" y="38100"/>
                  </a:lnTo>
                  <a:lnTo>
                    <a:pt x="824217" y="42862"/>
                  </a:lnTo>
                  <a:lnTo>
                    <a:pt x="1562722" y="42862"/>
                  </a:lnTo>
                  <a:lnTo>
                    <a:pt x="1562722" y="38100"/>
                  </a:lnTo>
                  <a:close/>
                </a:path>
                <a:path w="1638934" h="1145539">
                  <a:moveTo>
                    <a:pt x="1629397" y="33337"/>
                  </a:moveTo>
                  <a:lnTo>
                    <a:pt x="1575422" y="33337"/>
                  </a:lnTo>
                  <a:lnTo>
                    <a:pt x="1575422" y="42862"/>
                  </a:lnTo>
                  <a:lnTo>
                    <a:pt x="1629397" y="42862"/>
                  </a:lnTo>
                  <a:lnTo>
                    <a:pt x="1638922" y="38100"/>
                  </a:lnTo>
                  <a:lnTo>
                    <a:pt x="1629397" y="333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10116363" y="1959864"/>
            <a:ext cx="83185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20">
                <a:latin typeface="Trebuchet MS"/>
                <a:cs typeface="Trebuchet MS"/>
              </a:rPr>
              <a:t>Web</a:t>
            </a:r>
            <a:r>
              <a:rPr sz="1100" spc="-140">
                <a:latin typeface="Trebuchet MS"/>
                <a:cs typeface="Trebuchet MS"/>
              </a:rPr>
              <a:t> </a:t>
            </a:r>
            <a:r>
              <a:rPr sz="1100" spc="-60">
                <a:latin typeface="Trebuchet MS"/>
                <a:cs typeface="Trebuchet MS"/>
              </a:rPr>
              <a:t>interface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520266" y="2798064"/>
            <a:ext cx="464184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70">
                <a:latin typeface="Trebuchet MS"/>
                <a:cs typeface="Trebuchet MS"/>
              </a:rPr>
              <a:t>C</a:t>
            </a:r>
            <a:r>
              <a:rPr sz="1100" spc="-65">
                <a:latin typeface="Trebuchet MS"/>
                <a:cs typeface="Trebuchet MS"/>
              </a:rPr>
              <a:t>a</a:t>
            </a:r>
            <a:r>
              <a:rPr sz="1100" spc="-40">
                <a:latin typeface="Trebuchet MS"/>
                <a:cs typeface="Trebuchet MS"/>
              </a:rPr>
              <a:t>m</a:t>
            </a:r>
            <a:r>
              <a:rPr sz="1100" spc="-55">
                <a:latin typeface="Trebuchet MS"/>
                <a:cs typeface="Trebuchet MS"/>
              </a:rPr>
              <a:t>e</a:t>
            </a:r>
            <a:r>
              <a:rPr sz="1100" spc="-45">
                <a:latin typeface="Trebuchet MS"/>
                <a:cs typeface="Trebuchet MS"/>
              </a:rPr>
              <a:t>r</a:t>
            </a:r>
            <a:r>
              <a:rPr sz="1100" spc="-55">
                <a:latin typeface="Trebuchet MS"/>
                <a:cs typeface="Trebuchet MS"/>
              </a:rPr>
              <a:t>a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64" name="object 64"/>
          <p:cNvGrpSpPr/>
          <p:nvPr/>
        </p:nvGrpSpPr>
        <p:grpSpPr>
          <a:xfrm>
            <a:off x="775477" y="1432928"/>
            <a:ext cx="1449705" cy="1579880"/>
            <a:chOff x="775477" y="1432928"/>
            <a:chExt cx="1449705" cy="1579880"/>
          </a:xfrm>
        </p:grpSpPr>
        <p:sp>
          <p:nvSpPr>
            <p:cNvPr id="65" name="object 65"/>
            <p:cNvSpPr/>
            <p:nvPr/>
          </p:nvSpPr>
          <p:spPr>
            <a:xfrm>
              <a:off x="1525549" y="1635836"/>
              <a:ext cx="455394" cy="386867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1419669" y="2100746"/>
              <a:ext cx="774268" cy="148372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883919" y="1941576"/>
              <a:ext cx="295656" cy="286512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886967" y="1609344"/>
              <a:ext cx="298703" cy="292608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780239" y="1567700"/>
              <a:ext cx="1440180" cy="1440180"/>
            </a:xfrm>
            <a:custGeom>
              <a:avLst/>
              <a:gdLst/>
              <a:ahLst/>
              <a:cxnLst/>
              <a:rect l="l" t="t" r="r" b="b"/>
              <a:pathLst>
                <a:path w="1440180" h="1440180">
                  <a:moveTo>
                    <a:pt x="0" y="0"/>
                  </a:moveTo>
                  <a:lnTo>
                    <a:pt x="1440000" y="0"/>
                  </a:lnTo>
                  <a:lnTo>
                    <a:pt x="144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813724" y="1432928"/>
              <a:ext cx="1308735" cy="193675"/>
            </a:xfrm>
            <a:custGeom>
              <a:avLst/>
              <a:gdLst/>
              <a:ahLst/>
              <a:cxnLst/>
              <a:rect l="l" t="t" r="r" b="b"/>
              <a:pathLst>
                <a:path w="1308735" h="193675">
                  <a:moveTo>
                    <a:pt x="1308356" y="0"/>
                  </a:moveTo>
                  <a:lnTo>
                    <a:pt x="0" y="0"/>
                  </a:lnTo>
                  <a:lnTo>
                    <a:pt x="0" y="193433"/>
                  </a:lnTo>
                  <a:lnTo>
                    <a:pt x="1308356" y="193433"/>
                  </a:lnTo>
                  <a:lnTo>
                    <a:pt x="13083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714557" y="1063752"/>
            <a:ext cx="1018540" cy="549910"/>
          </a:xfrm>
          <a:prstGeom prst="rect">
            <a:avLst/>
          </a:prstGeom>
        </p:spPr>
        <p:txBody>
          <a:bodyPr vert="horz" wrap="square" lIns="0" tIns="1066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100" b="1" spc="-65">
                <a:solidFill>
                  <a:srgbClr val="6C03A8"/>
                </a:solidFill>
                <a:latin typeface="Trebuchet MS"/>
                <a:cs typeface="Trebuchet MS"/>
              </a:rPr>
              <a:t>Production</a:t>
            </a:r>
            <a:endParaRPr sz="1100">
              <a:latin typeface="Trebuchet MS"/>
              <a:cs typeface="Trebuchet MS"/>
            </a:endParaRPr>
          </a:p>
          <a:p>
            <a:pPr marL="501650">
              <a:lnSpc>
                <a:spcPct val="100000"/>
              </a:lnSpc>
              <a:spcBef>
                <a:spcPts val="745"/>
              </a:spcBef>
            </a:pPr>
            <a:r>
              <a:rPr sz="1100" b="1" spc="-45">
                <a:solidFill>
                  <a:srgbClr val="4A4A4A"/>
                </a:solidFill>
                <a:latin typeface="Trebuchet MS"/>
                <a:cs typeface="Trebuchet MS"/>
              </a:rPr>
              <a:t>Machine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1170242" y="1867382"/>
            <a:ext cx="187768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803346" y="2212848"/>
            <a:ext cx="135636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96900" algn="l"/>
              </a:tabLst>
            </a:pPr>
            <a:r>
              <a:rPr sz="1100" spc="-35">
                <a:latin typeface="Trebuchet MS"/>
                <a:cs typeface="Trebuchet MS"/>
              </a:rPr>
              <a:t>Sensors	</a:t>
            </a:r>
            <a:r>
              <a:rPr sz="1100" spc="-55">
                <a:latin typeface="Trebuchet MS"/>
                <a:cs typeface="Trebuchet MS"/>
              </a:rPr>
              <a:t>Cloudrail</a:t>
            </a:r>
            <a:r>
              <a:rPr sz="1100" spc="-135">
                <a:latin typeface="Trebuchet MS"/>
                <a:cs typeface="Trebuchet MS"/>
              </a:rPr>
              <a:t> </a:t>
            </a:r>
            <a:r>
              <a:rPr sz="1100" spc="-40">
                <a:latin typeface="Trebuchet MS"/>
                <a:cs typeface="Trebuchet MS"/>
              </a:rPr>
              <a:t>Box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74" name="object 74"/>
          <p:cNvGrpSpPr/>
          <p:nvPr/>
        </p:nvGrpSpPr>
        <p:grpSpPr>
          <a:xfrm>
            <a:off x="5410200" y="2546591"/>
            <a:ext cx="4551045" cy="3480435"/>
            <a:chOff x="5410200" y="2546591"/>
            <a:chExt cx="4551045" cy="3480435"/>
          </a:xfrm>
        </p:grpSpPr>
        <p:sp>
          <p:nvSpPr>
            <p:cNvPr id="75" name="object 75"/>
            <p:cNvSpPr/>
            <p:nvPr/>
          </p:nvSpPr>
          <p:spPr>
            <a:xfrm>
              <a:off x="9591992" y="5607770"/>
              <a:ext cx="368935" cy="419256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5410200" y="3368039"/>
              <a:ext cx="420624" cy="417576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5647474" y="2546591"/>
              <a:ext cx="415290" cy="76200"/>
            </a:xfrm>
            <a:custGeom>
              <a:avLst/>
              <a:gdLst/>
              <a:ahLst/>
              <a:cxnLst/>
              <a:rect l="l" t="t" r="r" b="b"/>
              <a:pathLst>
                <a:path w="415289" h="76200">
                  <a:moveTo>
                    <a:pt x="339039" y="0"/>
                  </a:moveTo>
                  <a:lnTo>
                    <a:pt x="339039" y="76200"/>
                  </a:lnTo>
                  <a:lnTo>
                    <a:pt x="405714" y="42862"/>
                  </a:lnTo>
                  <a:lnTo>
                    <a:pt x="351739" y="42862"/>
                  </a:lnTo>
                  <a:lnTo>
                    <a:pt x="351739" y="33337"/>
                  </a:lnTo>
                  <a:lnTo>
                    <a:pt x="405714" y="33337"/>
                  </a:lnTo>
                  <a:lnTo>
                    <a:pt x="339039" y="0"/>
                  </a:lnTo>
                  <a:close/>
                </a:path>
                <a:path w="415289" h="76200">
                  <a:moveTo>
                    <a:pt x="339039" y="33337"/>
                  </a:moveTo>
                  <a:lnTo>
                    <a:pt x="0" y="33337"/>
                  </a:lnTo>
                  <a:lnTo>
                    <a:pt x="0" y="42862"/>
                  </a:lnTo>
                  <a:lnTo>
                    <a:pt x="339039" y="42862"/>
                  </a:lnTo>
                  <a:lnTo>
                    <a:pt x="339039" y="33337"/>
                  </a:lnTo>
                  <a:close/>
                </a:path>
                <a:path w="415289" h="76200">
                  <a:moveTo>
                    <a:pt x="405714" y="33337"/>
                  </a:moveTo>
                  <a:lnTo>
                    <a:pt x="351739" y="33337"/>
                  </a:lnTo>
                  <a:lnTo>
                    <a:pt x="351739" y="42862"/>
                  </a:lnTo>
                  <a:lnTo>
                    <a:pt x="405714" y="42862"/>
                  </a:lnTo>
                  <a:lnTo>
                    <a:pt x="415239" y="38100"/>
                  </a:lnTo>
                  <a:lnTo>
                    <a:pt x="405714" y="333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8" name="object 78"/>
          <p:cNvSpPr txBox="1"/>
          <p:nvPr/>
        </p:nvSpPr>
        <p:spPr>
          <a:xfrm>
            <a:off x="9393249" y="5967984"/>
            <a:ext cx="101536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100" spc="-40">
                <a:solidFill>
                  <a:srgbClr val="FF0000"/>
                </a:solidFill>
                <a:latin typeface="Trebuchet MS"/>
                <a:cs typeface="Trebuchet MS"/>
              </a:rPr>
              <a:t>Synapse</a:t>
            </a:r>
            <a:r>
              <a:rPr sz="1100" spc="-125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spc="-55">
                <a:solidFill>
                  <a:srgbClr val="FF0000"/>
                </a:solidFill>
                <a:latin typeface="Trebuchet MS"/>
                <a:cs typeface="Trebuchet MS"/>
              </a:rPr>
              <a:t>Analytics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10111499" y="4749279"/>
            <a:ext cx="287312" cy="368198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 txBox="1"/>
          <p:nvPr/>
        </p:nvSpPr>
        <p:spPr>
          <a:xfrm>
            <a:off x="9931958" y="5071872"/>
            <a:ext cx="62547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SQL</a:t>
            </a:r>
            <a:r>
              <a:rPr sz="1100" spc="-145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Server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81" name="object 81"/>
          <p:cNvGrpSpPr/>
          <p:nvPr/>
        </p:nvGrpSpPr>
        <p:grpSpPr>
          <a:xfrm>
            <a:off x="6354697" y="4736758"/>
            <a:ext cx="3717290" cy="1249045"/>
            <a:chOff x="6354697" y="4736758"/>
            <a:chExt cx="3717290" cy="1249045"/>
          </a:xfrm>
        </p:grpSpPr>
        <p:sp>
          <p:nvSpPr>
            <p:cNvPr id="82" name="object 82"/>
            <p:cNvSpPr/>
            <p:nvPr/>
          </p:nvSpPr>
          <p:spPr>
            <a:xfrm>
              <a:off x="6354697" y="5578054"/>
              <a:ext cx="392878" cy="407300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9207538" y="4736758"/>
              <a:ext cx="863942" cy="539964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4" name="object 84"/>
          <p:cNvSpPr txBox="1"/>
          <p:nvPr/>
        </p:nvSpPr>
        <p:spPr>
          <a:xfrm>
            <a:off x="9283458" y="5364480"/>
            <a:ext cx="64643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100" spc="-35">
                <a:solidFill>
                  <a:srgbClr val="FF0000"/>
                </a:solidFill>
                <a:latin typeface="Trebuchet MS"/>
                <a:cs typeface="Trebuchet MS"/>
              </a:rPr>
              <a:t>Cosmos</a:t>
            </a:r>
            <a:r>
              <a:rPr sz="1100" spc="-14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spc="-15">
                <a:solidFill>
                  <a:srgbClr val="FF0000"/>
                </a:solidFill>
                <a:latin typeface="Trebuchet MS"/>
                <a:cs typeface="Trebuchet MS"/>
              </a:rPr>
              <a:t>DB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6273825" y="5949696"/>
            <a:ext cx="62166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Da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t</a:t>
            </a: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ab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r</a:t>
            </a:r>
            <a:r>
              <a:rPr sz="1100" spc="-80">
                <a:solidFill>
                  <a:srgbClr val="FF0000"/>
                </a:solidFill>
                <a:latin typeface="Trebuchet MS"/>
                <a:cs typeface="Trebuchet MS"/>
              </a:rPr>
              <a:t>ic</a:t>
            </a:r>
            <a:r>
              <a:rPr sz="1100" spc="-55">
                <a:solidFill>
                  <a:srgbClr val="FF0000"/>
                </a:solidFill>
                <a:latin typeface="Trebuchet MS"/>
                <a:cs typeface="Trebuchet MS"/>
              </a:rPr>
              <a:t>k</a:t>
            </a:r>
            <a:r>
              <a:rPr sz="1100" spc="-15">
                <a:solidFill>
                  <a:srgbClr val="FF0000"/>
                </a:solidFill>
                <a:latin typeface="Trebuchet MS"/>
                <a:cs typeface="Trebuchet MS"/>
              </a:rPr>
              <a:t>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86" name="object 86"/>
          <p:cNvGrpSpPr/>
          <p:nvPr/>
        </p:nvGrpSpPr>
        <p:grpSpPr>
          <a:xfrm>
            <a:off x="2445410" y="5176939"/>
            <a:ext cx="1809750" cy="1224280"/>
            <a:chOff x="2445410" y="5176939"/>
            <a:chExt cx="1809750" cy="1224280"/>
          </a:xfrm>
        </p:grpSpPr>
        <p:sp>
          <p:nvSpPr>
            <p:cNvPr id="87" name="object 87"/>
            <p:cNvSpPr/>
            <p:nvPr/>
          </p:nvSpPr>
          <p:spPr>
            <a:xfrm>
              <a:off x="3127248" y="5769863"/>
              <a:ext cx="1127760" cy="630936"/>
            </a:xfrm>
            <a:prstGeom prst="rect">
              <a:avLst/>
            </a:prstGeom>
            <a:blipFill>
              <a:blip r:embed="rId2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3139998" y="5176939"/>
              <a:ext cx="1100099" cy="601737"/>
            </a:xfrm>
            <a:prstGeom prst="rect">
              <a:avLst/>
            </a:prstGeom>
            <a:blipFill>
              <a:blip r:embed="rId3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3550919" y="5257799"/>
              <a:ext cx="408431" cy="396240"/>
            </a:xfrm>
            <a:prstGeom prst="rect">
              <a:avLst/>
            </a:prstGeom>
            <a:blipFill>
              <a:blip r:embed="rId3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2445410" y="5512993"/>
              <a:ext cx="643255" cy="76200"/>
            </a:xfrm>
            <a:custGeom>
              <a:avLst/>
              <a:gdLst/>
              <a:ahLst/>
              <a:cxnLst/>
              <a:rect l="l" t="t" r="r" b="b"/>
              <a:pathLst>
                <a:path w="643255" h="76200">
                  <a:moveTo>
                    <a:pt x="76200" y="28575"/>
                  </a:moveTo>
                  <a:lnTo>
                    <a:pt x="0" y="28575"/>
                  </a:lnTo>
                  <a:lnTo>
                    <a:pt x="0" y="47625"/>
                  </a:lnTo>
                  <a:lnTo>
                    <a:pt x="76200" y="47625"/>
                  </a:lnTo>
                  <a:lnTo>
                    <a:pt x="76200" y="28575"/>
                  </a:lnTo>
                  <a:close/>
                </a:path>
                <a:path w="643255" h="76200">
                  <a:moveTo>
                    <a:pt x="209550" y="28575"/>
                  </a:moveTo>
                  <a:lnTo>
                    <a:pt x="133350" y="28575"/>
                  </a:lnTo>
                  <a:lnTo>
                    <a:pt x="133350" y="47625"/>
                  </a:lnTo>
                  <a:lnTo>
                    <a:pt x="209550" y="47625"/>
                  </a:lnTo>
                  <a:lnTo>
                    <a:pt x="209550" y="28575"/>
                  </a:lnTo>
                  <a:close/>
                </a:path>
                <a:path w="643255" h="76200">
                  <a:moveTo>
                    <a:pt x="342900" y="28575"/>
                  </a:moveTo>
                  <a:lnTo>
                    <a:pt x="266700" y="28575"/>
                  </a:lnTo>
                  <a:lnTo>
                    <a:pt x="266700" y="47625"/>
                  </a:lnTo>
                  <a:lnTo>
                    <a:pt x="342900" y="47625"/>
                  </a:lnTo>
                  <a:lnTo>
                    <a:pt x="342900" y="28575"/>
                  </a:lnTo>
                  <a:close/>
                </a:path>
                <a:path w="643255" h="76200">
                  <a:moveTo>
                    <a:pt x="476250" y="28575"/>
                  </a:moveTo>
                  <a:lnTo>
                    <a:pt x="400050" y="28575"/>
                  </a:lnTo>
                  <a:lnTo>
                    <a:pt x="400050" y="47625"/>
                  </a:lnTo>
                  <a:lnTo>
                    <a:pt x="476250" y="47625"/>
                  </a:lnTo>
                  <a:lnTo>
                    <a:pt x="476250" y="28575"/>
                  </a:lnTo>
                  <a:close/>
                </a:path>
                <a:path w="643255" h="76200">
                  <a:moveTo>
                    <a:pt x="566724" y="0"/>
                  </a:moveTo>
                  <a:lnTo>
                    <a:pt x="566724" y="76203"/>
                  </a:lnTo>
                  <a:lnTo>
                    <a:pt x="623876" y="47625"/>
                  </a:lnTo>
                  <a:lnTo>
                    <a:pt x="579424" y="47625"/>
                  </a:lnTo>
                  <a:lnTo>
                    <a:pt x="579424" y="28575"/>
                  </a:lnTo>
                  <a:lnTo>
                    <a:pt x="623874" y="28575"/>
                  </a:lnTo>
                  <a:lnTo>
                    <a:pt x="566724" y="0"/>
                  </a:lnTo>
                  <a:close/>
                </a:path>
                <a:path w="643255" h="76200">
                  <a:moveTo>
                    <a:pt x="566724" y="28575"/>
                  </a:moveTo>
                  <a:lnTo>
                    <a:pt x="533400" y="28575"/>
                  </a:lnTo>
                  <a:lnTo>
                    <a:pt x="533400" y="47625"/>
                  </a:lnTo>
                  <a:lnTo>
                    <a:pt x="566724" y="47625"/>
                  </a:lnTo>
                  <a:lnTo>
                    <a:pt x="566724" y="28575"/>
                  </a:lnTo>
                  <a:close/>
                </a:path>
                <a:path w="643255" h="76200">
                  <a:moveTo>
                    <a:pt x="623874" y="28575"/>
                  </a:moveTo>
                  <a:lnTo>
                    <a:pt x="579424" y="28575"/>
                  </a:lnTo>
                  <a:lnTo>
                    <a:pt x="579424" y="47625"/>
                  </a:lnTo>
                  <a:lnTo>
                    <a:pt x="623876" y="47625"/>
                  </a:lnTo>
                  <a:lnTo>
                    <a:pt x="642924" y="38100"/>
                  </a:lnTo>
                  <a:lnTo>
                    <a:pt x="623874" y="2857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1" name="object 91"/>
          <p:cNvGrpSpPr/>
          <p:nvPr/>
        </p:nvGrpSpPr>
        <p:grpSpPr>
          <a:xfrm>
            <a:off x="1980945" y="1824507"/>
            <a:ext cx="5422265" cy="3782695"/>
            <a:chOff x="1980945" y="1824507"/>
            <a:chExt cx="5422265" cy="3782695"/>
          </a:xfrm>
        </p:grpSpPr>
        <p:sp>
          <p:nvSpPr>
            <p:cNvPr id="92" name="object 92"/>
            <p:cNvSpPr/>
            <p:nvPr/>
          </p:nvSpPr>
          <p:spPr>
            <a:xfrm>
              <a:off x="6885215" y="5530697"/>
              <a:ext cx="518159" cy="76200"/>
            </a:xfrm>
            <a:custGeom>
              <a:avLst/>
              <a:gdLst/>
              <a:ahLst/>
              <a:cxnLst/>
              <a:rect l="l" t="t" r="r" b="b"/>
              <a:pathLst>
                <a:path w="518159" h="76200">
                  <a:moveTo>
                    <a:pt x="76200" y="28575"/>
                  </a:moveTo>
                  <a:lnTo>
                    <a:pt x="0" y="28575"/>
                  </a:lnTo>
                  <a:lnTo>
                    <a:pt x="0" y="47625"/>
                  </a:lnTo>
                  <a:lnTo>
                    <a:pt x="76200" y="47625"/>
                  </a:lnTo>
                  <a:lnTo>
                    <a:pt x="76200" y="28575"/>
                  </a:lnTo>
                  <a:close/>
                </a:path>
                <a:path w="518159" h="76200">
                  <a:moveTo>
                    <a:pt x="209550" y="28575"/>
                  </a:moveTo>
                  <a:lnTo>
                    <a:pt x="133350" y="28575"/>
                  </a:lnTo>
                  <a:lnTo>
                    <a:pt x="133350" y="47625"/>
                  </a:lnTo>
                  <a:lnTo>
                    <a:pt x="209550" y="47625"/>
                  </a:lnTo>
                  <a:lnTo>
                    <a:pt x="209550" y="28575"/>
                  </a:lnTo>
                  <a:close/>
                </a:path>
                <a:path w="518159" h="76200">
                  <a:moveTo>
                    <a:pt x="342900" y="28575"/>
                  </a:moveTo>
                  <a:lnTo>
                    <a:pt x="266700" y="28575"/>
                  </a:lnTo>
                  <a:lnTo>
                    <a:pt x="266700" y="47625"/>
                  </a:lnTo>
                  <a:lnTo>
                    <a:pt x="342900" y="47625"/>
                  </a:lnTo>
                  <a:lnTo>
                    <a:pt x="342900" y="28575"/>
                  </a:lnTo>
                  <a:close/>
                </a:path>
                <a:path w="518159" h="76200">
                  <a:moveTo>
                    <a:pt x="441769" y="0"/>
                  </a:moveTo>
                  <a:lnTo>
                    <a:pt x="441769" y="76200"/>
                  </a:lnTo>
                  <a:lnTo>
                    <a:pt x="498919" y="47625"/>
                  </a:lnTo>
                  <a:lnTo>
                    <a:pt x="454469" y="47625"/>
                  </a:lnTo>
                  <a:lnTo>
                    <a:pt x="454469" y="28575"/>
                  </a:lnTo>
                  <a:lnTo>
                    <a:pt x="498919" y="28575"/>
                  </a:lnTo>
                  <a:lnTo>
                    <a:pt x="441769" y="0"/>
                  </a:lnTo>
                  <a:close/>
                </a:path>
                <a:path w="518159" h="76200">
                  <a:moveTo>
                    <a:pt x="441769" y="28575"/>
                  </a:moveTo>
                  <a:lnTo>
                    <a:pt x="400050" y="28575"/>
                  </a:lnTo>
                  <a:lnTo>
                    <a:pt x="400050" y="47625"/>
                  </a:lnTo>
                  <a:lnTo>
                    <a:pt x="441769" y="47625"/>
                  </a:lnTo>
                  <a:lnTo>
                    <a:pt x="441769" y="28575"/>
                  </a:lnTo>
                  <a:close/>
                </a:path>
                <a:path w="518159" h="76200">
                  <a:moveTo>
                    <a:pt x="498919" y="28575"/>
                  </a:moveTo>
                  <a:lnTo>
                    <a:pt x="454469" y="28575"/>
                  </a:lnTo>
                  <a:lnTo>
                    <a:pt x="454469" y="47625"/>
                  </a:lnTo>
                  <a:lnTo>
                    <a:pt x="498919" y="47625"/>
                  </a:lnTo>
                  <a:lnTo>
                    <a:pt x="517969" y="38100"/>
                  </a:lnTo>
                  <a:lnTo>
                    <a:pt x="498919" y="2857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6044183" y="2371344"/>
              <a:ext cx="426720" cy="429767"/>
            </a:xfrm>
            <a:prstGeom prst="rect">
              <a:avLst/>
            </a:prstGeom>
            <a:blipFill>
              <a:blip r:embed="rId3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1980945" y="1824507"/>
              <a:ext cx="1299210" cy="1813560"/>
            </a:xfrm>
            <a:custGeom>
              <a:avLst/>
              <a:gdLst/>
              <a:ahLst/>
              <a:cxnLst/>
              <a:rect l="l" t="t" r="r" b="b"/>
              <a:pathLst>
                <a:path w="1299210" h="1813560">
                  <a:moveTo>
                    <a:pt x="1222895" y="1737029"/>
                  </a:moveTo>
                  <a:lnTo>
                    <a:pt x="1222895" y="1813229"/>
                  </a:lnTo>
                  <a:lnTo>
                    <a:pt x="1289570" y="1779892"/>
                  </a:lnTo>
                  <a:lnTo>
                    <a:pt x="1235595" y="1779892"/>
                  </a:lnTo>
                  <a:lnTo>
                    <a:pt x="1235595" y="1770367"/>
                  </a:lnTo>
                  <a:lnTo>
                    <a:pt x="1289570" y="1770367"/>
                  </a:lnTo>
                  <a:lnTo>
                    <a:pt x="1222895" y="1737029"/>
                  </a:lnTo>
                  <a:close/>
                </a:path>
                <a:path w="1299210" h="1813560">
                  <a:moveTo>
                    <a:pt x="655929" y="4762"/>
                  </a:moveTo>
                  <a:lnTo>
                    <a:pt x="655929" y="1777758"/>
                  </a:lnTo>
                  <a:lnTo>
                    <a:pt x="658063" y="1779892"/>
                  </a:lnTo>
                  <a:lnTo>
                    <a:pt x="1222895" y="1779892"/>
                  </a:lnTo>
                  <a:lnTo>
                    <a:pt x="1222895" y="1775129"/>
                  </a:lnTo>
                  <a:lnTo>
                    <a:pt x="665454" y="1775129"/>
                  </a:lnTo>
                  <a:lnTo>
                    <a:pt x="660692" y="1770367"/>
                  </a:lnTo>
                  <a:lnTo>
                    <a:pt x="665454" y="1770367"/>
                  </a:lnTo>
                  <a:lnTo>
                    <a:pt x="665454" y="9525"/>
                  </a:lnTo>
                  <a:lnTo>
                    <a:pt x="660692" y="9525"/>
                  </a:lnTo>
                  <a:lnTo>
                    <a:pt x="655929" y="4762"/>
                  </a:lnTo>
                  <a:close/>
                </a:path>
                <a:path w="1299210" h="1813560">
                  <a:moveTo>
                    <a:pt x="1289570" y="1770367"/>
                  </a:moveTo>
                  <a:lnTo>
                    <a:pt x="1235595" y="1770367"/>
                  </a:lnTo>
                  <a:lnTo>
                    <a:pt x="1235595" y="1779892"/>
                  </a:lnTo>
                  <a:lnTo>
                    <a:pt x="1289570" y="1779892"/>
                  </a:lnTo>
                  <a:lnTo>
                    <a:pt x="1299095" y="1775129"/>
                  </a:lnTo>
                  <a:lnTo>
                    <a:pt x="1289570" y="1770367"/>
                  </a:lnTo>
                  <a:close/>
                </a:path>
                <a:path w="1299210" h="1813560">
                  <a:moveTo>
                    <a:pt x="665454" y="1770367"/>
                  </a:moveTo>
                  <a:lnTo>
                    <a:pt x="660692" y="1770367"/>
                  </a:lnTo>
                  <a:lnTo>
                    <a:pt x="665454" y="1775129"/>
                  </a:lnTo>
                  <a:lnTo>
                    <a:pt x="665454" y="1770367"/>
                  </a:lnTo>
                  <a:close/>
                </a:path>
                <a:path w="1299210" h="1813560">
                  <a:moveTo>
                    <a:pt x="1222895" y="1770367"/>
                  </a:moveTo>
                  <a:lnTo>
                    <a:pt x="665454" y="1770367"/>
                  </a:lnTo>
                  <a:lnTo>
                    <a:pt x="665454" y="1775129"/>
                  </a:lnTo>
                  <a:lnTo>
                    <a:pt x="1222895" y="1775129"/>
                  </a:lnTo>
                  <a:lnTo>
                    <a:pt x="1222895" y="1770367"/>
                  </a:lnTo>
                  <a:close/>
                </a:path>
                <a:path w="1299210" h="1813560">
                  <a:moveTo>
                    <a:pt x="663321" y="0"/>
                  </a:moveTo>
                  <a:lnTo>
                    <a:pt x="0" y="0"/>
                  </a:lnTo>
                  <a:lnTo>
                    <a:pt x="0" y="9525"/>
                  </a:lnTo>
                  <a:lnTo>
                    <a:pt x="655929" y="9525"/>
                  </a:lnTo>
                  <a:lnTo>
                    <a:pt x="655929" y="4762"/>
                  </a:lnTo>
                  <a:lnTo>
                    <a:pt x="665454" y="4762"/>
                  </a:lnTo>
                  <a:lnTo>
                    <a:pt x="665454" y="2133"/>
                  </a:lnTo>
                  <a:lnTo>
                    <a:pt x="663321" y="0"/>
                  </a:lnTo>
                  <a:close/>
                </a:path>
                <a:path w="1299210" h="1813560">
                  <a:moveTo>
                    <a:pt x="665454" y="4762"/>
                  </a:moveTo>
                  <a:lnTo>
                    <a:pt x="655929" y="4762"/>
                  </a:lnTo>
                  <a:lnTo>
                    <a:pt x="660692" y="9525"/>
                  </a:lnTo>
                  <a:lnTo>
                    <a:pt x="665454" y="9525"/>
                  </a:lnTo>
                  <a:lnTo>
                    <a:pt x="665454" y="476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3889120" y="2266327"/>
              <a:ext cx="1063625" cy="1748155"/>
            </a:xfrm>
            <a:custGeom>
              <a:avLst/>
              <a:gdLst/>
              <a:ahLst/>
              <a:cxnLst/>
              <a:rect l="l" t="t" r="r" b="b"/>
              <a:pathLst>
                <a:path w="1063625" h="1748154">
                  <a:moveTo>
                    <a:pt x="1063498" y="0"/>
                  </a:moveTo>
                  <a:lnTo>
                    <a:pt x="0" y="0"/>
                  </a:lnTo>
                  <a:lnTo>
                    <a:pt x="0" y="1748142"/>
                  </a:lnTo>
                  <a:lnTo>
                    <a:pt x="1063498" y="1748142"/>
                  </a:lnTo>
                  <a:lnTo>
                    <a:pt x="10634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3928872" y="2895600"/>
              <a:ext cx="420624" cy="423672"/>
            </a:xfrm>
            <a:prstGeom prst="rect">
              <a:avLst/>
            </a:prstGeom>
            <a:blipFill>
              <a:blip r:embed="rId3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7" name="object 97"/>
          <p:cNvSpPr txBox="1"/>
          <p:nvPr/>
        </p:nvSpPr>
        <p:spPr>
          <a:xfrm>
            <a:off x="3889121" y="2266327"/>
            <a:ext cx="1063625" cy="1748155"/>
          </a:xfrm>
          <a:prstGeom prst="rect">
            <a:avLst/>
          </a:prstGeom>
          <a:ln w="9525">
            <a:solidFill>
              <a:srgbClr val="A6A6A6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250">
              <a:latin typeface="Times New Roman"/>
              <a:cs typeface="Times New Roman"/>
            </a:endParaRPr>
          </a:p>
          <a:p>
            <a:pPr marL="551815" marR="49530" algn="ctr">
              <a:lnSpc>
                <a:spcPct val="103699"/>
              </a:lnSpc>
              <a:spcBef>
                <a:spcPts val="5"/>
              </a:spcBef>
            </a:pPr>
            <a:r>
              <a:rPr sz="800" spc="-35">
                <a:latin typeface="Trebuchet MS"/>
                <a:cs typeface="Trebuchet MS"/>
              </a:rPr>
              <a:t>Azure</a:t>
            </a:r>
            <a:r>
              <a:rPr sz="800" spc="-155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Data  </a:t>
            </a:r>
            <a:r>
              <a:rPr sz="800" spc="-50">
                <a:latin typeface="Trebuchet MS"/>
                <a:cs typeface="Trebuchet MS"/>
              </a:rPr>
              <a:t>Lake  </a:t>
            </a:r>
            <a:r>
              <a:rPr sz="800" spc="-35">
                <a:latin typeface="Trebuchet MS"/>
                <a:cs typeface="Trebuchet MS"/>
              </a:rPr>
              <a:t>Storage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98" name="object 98"/>
          <p:cNvGrpSpPr/>
          <p:nvPr/>
        </p:nvGrpSpPr>
        <p:grpSpPr>
          <a:xfrm>
            <a:off x="1903539" y="2352814"/>
            <a:ext cx="6125210" cy="1835150"/>
            <a:chOff x="1903539" y="2352814"/>
            <a:chExt cx="6125210" cy="1835150"/>
          </a:xfrm>
        </p:grpSpPr>
        <p:sp>
          <p:nvSpPr>
            <p:cNvPr id="99" name="object 99"/>
            <p:cNvSpPr/>
            <p:nvPr/>
          </p:nvSpPr>
          <p:spPr>
            <a:xfrm>
              <a:off x="4211319" y="2352814"/>
              <a:ext cx="443577" cy="443572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4204525" y="3411753"/>
              <a:ext cx="443577" cy="443572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1903539" y="2580652"/>
              <a:ext cx="1940560" cy="76200"/>
            </a:xfrm>
            <a:custGeom>
              <a:avLst/>
              <a:gdLst/>
              <a:ahLst/>
              <a:cxnLst/>
              <a:rect l="l" t="t" r="r" b="b"/>
              <a:pathLst>
                <a:path w="1940560" h="76200">
                  <a:moveTo>
                    <a:pt x="1864042" y="0"/>
                  </a:moveTo>
                  <a:lnTo>
                    <a:pt x="1864042" y="76200"/>
                  </a:lnTo>
                  <a:lnTo>
                    <a:pt x="1930717" y="42862"/>
                  </a:lnTo>
                  <a:lnTo>
                    <a:pt x="1876742" y="42862"/>
                  </a:lnTo>
                  <a:lnTo>
                    <a:pt x="1876742" y="33337"/>
                  </a:lnTo>
                  <a:lnTo>
                    <a:pt x="1930717" y="33337"/>
                  </a:lnTo>
                  <a:lnTo>
                    <a:pt x="1864042" y="0"/>
                  </a:lnTo>
                  <a:close/>
                </a:path>
                <a:path w="1940560" h="76200">
                  <a:moveTo>
                    <a:pt x="1864042" y="33337"/>
                  </a:moveTo>
                  <a:lnTo>
                    <a:pt x="0" y="33337"/>
                  </a:lnTo>
                  <a:lnTo>
                    <a:pt x="0" y="42862"/>
                  </a:lnTo>
                  <a:lnTo>
                    <a:pt x="1864042" y="42862"/>
                  </a:lnTo>
                  <a:lnTo>
                    <a:pt x="1864042" y="33337"/>
                  </a:lnTo>
                  <a:close/>
                </a:path>
                <a:path w="1940560" h="76200">
                  <a:moveTo>
                    <a:pt x="1930717" y="33337"/>
                  </a:moveTo>
                  <a:lnTo>
                    <a:pt x="1876742" y="33337"/>
                  </a:lnTo>
                  <a:lnTo>
                    <a:pt x="1876742" y="42862"/>
                  </a:lnTo>
                  <a:lnTo>
                    <a:pt x="1930717" y="42862"/>
                  </a:lnTo>
                  <a:lnTo>
                    <a:pt x="1940242" y="38100"/>
                  </a:lnTo>
                  <a:lnTo>
                    <a:pt x="1930717" y="333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7601711" y="3761232"/>
              <a:ext cx="426720" cy="426719"/>
            </a:xfrm>
            <a:prstGeom prst="rect">
              <a:avLst/>
            </a:prstGeom>
            <a:blipFill>
              <a:blip r:embed="rId3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3" name="object 103"/>
          <p:cNvSpPr txBox="1"/>
          <p:nvPr/>
        </p:nvSpPr>
        <p:spPr>
          <a:xfrm>
            <a:off x="7070229" y="4102608"/>
            <a:ext cx="970915" cy="3854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307975">
              <a:lnSpc>
                <a:spcPct val="107300"/>
              </a:lnSpc>
              <a:spcBef>
                <a:spcPts val="100"/>
              </a:spcBef>
            </a:pPr>
            <a:r>
              <a:rPr sz="1100" spc="-45">
                <a:latin typeface="Trebuchet MS"/>
                <a:cs typeface="Trebuchet MS"/>
              </a:rPr>
              <a:t>Azure  </a:t>
            </a:r>
            <a:r>
              <a:rPr sz="1100" spc="-50">
                <a:latin typeface="Trebuchet MS"/>
                <a:cs typeface="Trebuchet MS"/>
              </a:rPr>
              <a:t>Stream</a:t>
            </a:r>
            <a:r>
              <a:rPr sz="1100" spc="-140">
                <a:latin typeface="Trebuchet MS"/>
                <a:cs typeface="Trebuchet MS"/>
              </a:rPr>
              <a:t> </a:t>
            </a:r>
            <a:r>
              <a:rPr sz="1100" spc="-55">
                <a:latin typeface="Trebuchet MS"/>
                <a:cs typeface="Trebuchet MS"/>
              </a:rPr>
              <a:t>Analytic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104" name="object 104"/>
          <p:cNvGrpSpPr/>
          <p:nvPr/>
        </p:nvGrpSpPr>
        <p:grpSpPr>
          <a:xfrm>
            <a:off x="2084070" y="2580385"/>
            <a:ext cx="8576945" cy="3094990"/>
            <a:chOff x="2084070" y="2580385"/>
            <a:chExt cx="8576945" cy="3094990"/>
          </a:xfrm>
        </p:grpSpPr>
        <p:sp>
          <p:nvSpPr>
            <p:cNvPr id="105" name="object 105"/>
            <p:cNvSpPr/>
            <p:nvPr/>
          </p:nvSpPr>
          <p:spPr>
            <a:xfrm>
              <a:off x="2084070" y="2580385"/>
              <a:ext cx="5502275" cy="1433195"/>
            </a:xfrm>
            <a:custGeom>
              <a:avLst/>
              <a:gdLst/>
              <a:ahLst/>
              <a:cxnLst/>
              <a:rect l="l" t="t" r="r" b="b"/>
              <a:pathLst>
                <a:path w="5502275" h="1433195">
                  <a:moveTo>
                    <a:pt x="1195971" y="1019251"/>
                  </a:moveTo>
                  <a:lnTo>
                    <a:pt x="1186446" y="1014488"/>
                  </a:lnTo>
                  <a:lnTo>
                    <a:pt x="1119771" y="981151"/>
                  </a:lnTo>
                  <a:lnTo>
                    <a:pt x="1119771" y="1014488"/>
                  </a:lnTo>
                  <a:lnTo>
                    <a:pt x="561898" y="1014488"/>
                  </a:lnTo>
                  <a:lnTo>
                    <a:pt x="559765" y="1016622"/>
                  </a:lnTo>
                  <a:lnTo>
                    <a:pt x="559765" y="1423238"/>
                  </a:lnTo>
                  <a:lnTo>
                    <a:pt x="0" y="1423238"/>
                  </a:lnTo>
                  <a:lnTo>
                    <a:pt x="0" y="1432763"/>
                  </a:lnTo>
                  <a:lnTo>
                    <a:pt x="567156" y="1432763"/>
                  </a:lnTo>
                  <a:lnTo>
                    <a:pt x="569290" y="1430629"/>
                  </a:lnTo>
                  <a:lnTo>
                    <a:pt x="569290" y="1428000"/>
                  </a:lnTo>
                  <a:lnTo>
                    <a:pt x="569290" y="1423238"/>
                  </a:lnTo>
                  <a:lnTo>
                    <a:pt x="569290" y="1024013"/>
                  </a:lnTo>
                  <a:lnTo>
                    <a:pt x="1119771" y="1024013"/>
                  </a:lnTo>
                  <a:lnTo>
                    <a:pt x="1119771" y="1057351"/>
                  </a:lnTo>
                  <a:lnTo>
                    <a:pt x="1186446" y="1024013"/>
                  </a:lnTo>
                  <a:lnTo>
                    <a:pt x="1195971" y="1019251"/>
                  </a:lnTo>
                  <a:close/>
                </a:path>
                <a:path w="5502275" h="1433195">
                  <a:moveTo>
                    <a:pt x="5501932" y="641604"/>
                  </a:moveTo>
                  <a:lnTo>
                    <a:pt x="5492407" y="636841"/>
                  </a:lnTo>
                  <a:lnTo>
                    <a:pt x="5425732" y="603504"/>
                  </a:lnTo>
                  <a:lnTo>
                    <a:pt x="5425732" y="636841"/>
                  </a:lnTo>
                  <a:lnTo>
                    <a:pt x="4948644" y="636841"/>
                  </a:lnTo>
                  <a:lnTo>
                    <a:pt x="4948644" y="9525"/>
                  </a:lnTo>
                  <a:lnTo>
                    <a:pt x="4948644" y="4762"/>
                  </a:lnTo>
                  <a:lnTo>
                    <a:pt x="4948644" y="2133"/>
                  </a:lnTo>
                  <a:lnTo>
                    <a:pt x="4946523" y="0"/>
                  </a:lnTo>
                  <a:lnTo>
                    <a:pt x="4385843" y="0"/>
                  </a:lnTo>
                  <a:lnTo>
                    <a:pt x="4385843" y="9525"/>
                  </a:lnTo>
                  <a:lnTo>
                    <a:pt x="4939119" y="9525"/>
                  </a:lnTo>
                  <a:lnTo>
                    <a:pt x="4939119" y="644232"/>
                  </a:lnTo>
                  <a:lnTo>
                    <a:pt x="4941252" y="646366"/>
                  </a:lnTo>
                  <a:lnTo>
                    <a:pt x="5425732" y="646366"/>
                  </a:lnTo>
                  <a:lnTo>
                    <a:pt x="5425732" y="679704"/>
                  </a:lnTo>
                  <a:lnTo>
                    <a:pt x="5492407" y="646366"/>
                  </a:lnTo>
                  <a:lnTo>
                    <a:pt x="5501932" y="64160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3705453" y="3576345"/>
              <a:ext cx="187820" cy="76200"/>
            </a:xfrm>
            <a:prstGeom prst="rect">
              <a:avLst/>
            </a:prstGeom>
            <a:blipFill>
              <a:blip r:embed="rId3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8025714" y="3820947"/>
              <a:ext cx="2635250" cy="1655445"/>
            </a:xfrm>
            <a:custGeom>
              <a:avLst/>
              <a:gdLst/>
              <a:ahLst/>
              <a:cxnLst/>
              <a:rect l="l" t="t" r="r" b="b"/>
              <a:pathLst>
                <a:path w="2635250" h="1655445">
                  <a:moveTo>
                    <a:pt x="193979" y="760806"/>
                  </a:moveTo>
                  <a:lnTo>
                    <a:pt x="160642" y="760806"/>
                  </a:lnTo>
                  <a:lnTo>
                    <a:pt x="160642" y="159004"/>
                  </a:lnTo>
                  <a:lnTo>
                    <a:pt x="160642" y="154241"/>
                  </a:lnTo>
                  <a:lnTo>
                    <a:pt x="160642" y="151612"/>
                  </a:lnTo>
                  <a:lnTo>
                    <a:pt x="158508" y="149479"/>
                  </a:lnTo>
                  <a:lnTo>
                    <a:pt x="0" y="149479"/>
                  </a:lnTo>
                  <a:lnTo>
                    <a:pt x="0" y="159004"/>
                  </a:lnTo>
                  <a:lnTo>
                    <a:pt x="151117" y="159004"/>
                  </a:lnTo>
                  <a:lnTo>
                    <a:pt x="151117" y="760806"/>
                  </a:lnTo>
                  <a:lnTo>
                    <a:pt x="117779" y="760806"/>
                  </a:lnTo>
                  <a:lnTo>
                    <a:pt x="155879" y="837006"/>
                  </a:lnTo>
                  <a:lnTo>
                    <a:pt x="187629" y="773506"/>
                  </a:lnTo>
                  <a:lnTo>
                    <a:pt x="193979" y="760806"/>
                  </a:lnTo>
                  <a:close/>
                </a:path>
                <a:path w="2635250" h="1655445">
                  <a:moveTo>
                    <a:pt x="386854" y="76200"/>
                  </a:moveTo>
                  <a:lnTo>
                    <a:pt x="380504" y="63500"/>
                  </a:lnTo>
                  <a:lnTo>
                    <a:pt x="348754" y="0"/>
                  </a:lnTo>
                  <a:lnTo>
                    <a:pt x="310654" y="76200"/>
                  </a:lnTo>
                  <a:lnTo>
                    <a:pt x="339229" y="76200"/>
                  </a:lnTo>
                  <a:lnTo>
                    <a:pt x="339229" y="824344"/>
                  </a:lnTo>
                  <a:lnTo>
                    <a:pt x="358279" y="824344"/>
                  </a:lnTo>
                  <a:lnTo>
                    <a:pt x="358279" y="76200"/>
                  </a:lnTo>
                  <a:lnTo>
                    <a:pt x="386854" y="76200"/>
                  </a:lnTo>
                  <a:close/>
                </a:path>
                <a:path w="2635250" h="1655445">
                  <a:moveTo>
                    <a:pt x="2606471" y="1616506"/>
                  </a:moveTo>
                  <a:lnTo>
                    <a:pt x="2587421" y="1616506"/>
                  </a:lnTo>
                  <a:lnTo>
                    <a:pt x="2587421" y="1635899"/>
                  </a:lnTo>
                  <a:lnTo>
                    <a:pt x="2549652" y="1635899"/>
                  </a:lnTo>
                  <a:lnTo>
                    <a:pt x="2549652" y="1654949"/>
                  </a:lnTo>
                  <a:lnTo>
                    <a:pt x="2602204" y="1654949"/>
                  </a:lnTo>
                  <a:lnTo>
                    <a:pt x="2606471" y="1650682"/>
                  </a:lnTo>
                  <a:lnTo>
                    <a:pt x="2606471" y="1645424"/>
                  </a:lnTo>
                  <a:lnTo>
                    <a:pt x="2606471" y="1635899"/>
                  </a:lnTo>
                  <a:lnTo>
                    <a:pt x="2606471" y="1616506"/>
                  </a:lnTo>
                  <a:close/>
                </a:path>
                <a:path w="2635250" h="1655445">
                  <a:moveTo>
                    <a:pt x="2606471" y="1483156"/>
                  </a:moveTo>
                  <a:lnTo>
                    <a:pt x="2587421" y="1483156"/>
                  </a:lnTo>
                  <a:lnTo>
                    <a:pt x="2587421" y="1559356"/>
                  </a:lnTo>
                  <a:lnTo>
                    <a:pt x="2606471" y="1559356"/>
                  </a:lnTo>
                  <a:lnTo>
                    <a:pt x="2606471" y="1483156"/>
                  </a:lnTo>
                  <a:close/>
                </a:path>
                <a:path w="2635250" h="1655445">
                  <a:moveTo>
                    <a:pt x="2606471" y="1349806"/>
                  </a:moveTo>
                  <a:lnTo>
                    <a:pt x="2587421" y="1349806"/>
                  </a:lnTo>
                  <a:lnTo>
                    <a:pt x="2587421" y="1426006"/>
                  </a:lnTo>
                  <a:lnTo>
                    <a:pt x="2606471" y="1426006"/>
                  </a:lnTo>
                  <a:lnTo>
                    <a:pt x="2606471" y="1349806"/>
                  </a:lnTo>
                  <a:close/>
                </a:path>
                <a:path w="2635250" h="1655445">
                  <a:moveTo>
                    <a:pt x="2606471" y="1216469"/>
                  </a:moveTo>
                  <a:lnTo>
                    <a:pt x="2587421" y="1216469"/>
                  </a:lnTo>
                  <a:lnTo>
                    <a:pt x="2587421" y="1292669"/>
                  </a:lnTo>
                  <a:lnTo>
                    <a:pt x="2606471" y="1292669"/>
                  </a:lnTo>
                  <a:lnTo>
                    <a:pt x="2606471" y="1216469"/>
                  </a:lnTo>
                  <a:close/>
                </a:path>
                <a:path w="2635250" h="1655445">
                  <a:moveTo>
                    <a:pt x="2606471" y="1083106"/>
                  </a:moveTo>
                  <a:lnTo>
                    <a:pt x="2587421" y="1083106"/>
                  </a:lnTo>
                  <a:lnTo>
                    <a:pt x="2587421" y="1159319"/>
                  </a:lnTo>
                  <a:lnTo>
                    <a:pt x="2606471" y="1159319"/>
                  </a:lnTo>
                  <a:lnTo>
                    <a:pt x="2606471" y="1083106"/>
                  </a:lnTo>
                  <a:close/>
                </a:path>
                <a:path w="2635250" h="1655445">
                  <a:moveTo>
                    <a:pt x="2606471" y="949769"/>
                  </a:moveTo>
                  <a:lnTo>
                    <a:pt x="2587421" y="949769"/>
                  </a:lnTo>
                  <a:lnTo>
                    <a:pt x="2587421" y="1025969"/>
                  </a:lnTo>
                  <a:lnTo>
                    <a:pt x="2606471" y="1025969"/>
                  </a:lnTo>
                  <a:lnTo>
                    <a:pt x="2606471" y="949769"/>
                  </a:lnTo>
                  <a:close/>
                </a:path>
                <a:path w="2635250" h="1655445">
                  <a:moveTo>
                    <a:pt x="2606471" y="816406"/>
                  </a:moveTo>
                  <a:lnTo>
                    <a:pt x="2587421" y="816406"/>
                  </a:lnTo>
                  <a:lnTo>
                    <a:pt x="2587421" y="892619"/>
                  </a:lnTo>
                  <a:lnTo>
                    <a:pt x="2606471" y="892619"/>
                  </a:lnTo>
                  <a:lnTo>
                    <a:pt x="2606471" y="816406"/>
                  </a:lnTo>
                  <a:close/>
                </a:path>
                <a:path w="2635250" h="1655445">
                  <a:moveTo>
                    <a:pt x="2606471" y="683069"/>
                  </a:moveTo>
                  <a:lnTo>
                    <a:pt x="2587421" y="683069"/>
                  </a:lnTo>
                  <a:lnTo>
                    <a:pt x="2587421" y="759269"/>
                  </a:lnTo>
                  <a:lnTo>
                    <a:pt x="2606471" y="759269"/>
                  </a:lnTo>
                  <a:lnTo>
                    <a:pt x="2606471" y="683069"/>
                  </a:lnTo>
                  <a:close/>
                </a:path>
                <a:path w="2635250" h="1655445">
                  <a:moveTo>
                    <a:pt x="2606471" y="549719"/>
                  </a:moveTo>
                  <a:lnTo>
                    <a:pt x="2587421" y="549719"/>
                  </a:lnTo>
                  <a:lnTo>
                    <a:pt x="2587421" y="625919"/>
                  </a:lnTo>
                  <a:lnTo>
                    <a:pt x="2606471" y="625919"/>
                  </a:lnTo>
                  <a:lnTo>
                    <a:pt x="2606471" y="549719"/>
                  </a:lnTo>
                  <a:close/>
                </a:path>
                <a:path w="2635250" h="1655445">
                  <a:moveTo>
                    <a:pt x="2635046" y="495846"/>
                  </a:moveTo>
                  <a:lnTo>
                    <a:pt x="2633395" y="492569"/>
                  </a:lnTo>
                  <a:lnTo>
                    <a:pt x="2628696" y="483146"/>
                  </a:lnTo>
                  <a:lnTo>
                    <a:pt x="2596946" y="419646"/>
                  </a:lnTo>
                  <a:lnTo>
                    <a:pt x="2558846" y="495846"/>
                  </a:lnTo>
                  <a:lnTo>
                    <a:pt x="2635046" y="49584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7598664" y="5285231"/>
              <a:ext cx="362711" cy="390144"/>
            </a:xfrm>
            <a:prstGeom prst="rect">
              <a:avLst/>
            </a:prstGeom>
            <a:blipFill>
              <a:blip r:embed="rId3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9" name="object 109"/>
          <p:cNvSpPr txBox="1"/>
          <p:nvPr/>
        </p:nvSpPr>
        <p:spPr>
          <a:xfrm>
            <a:off x="7403185" y="4651425"/>
            <a:ext cx="1075690" cy="1598295"/>
          </a:xfrm>
          <a:prstGeom prst="rect">
            <a:avLst/>
          </a:prstGeom>
          <a:ln w="9525">
            <a:solidFill>
              <a:srgbClr val="A6A6A6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 marL="548005" marR="65405" algn="ctr">
              <a:lnSpc>
                <a:spcPct val="103699"/>
              </a:lnSpc>
            </a:pPr>
            <a:r>
              <a:rPr sz="800" spc="-35">
                <a:latin typeface="Trebuchet MS"/>
                <a:cs typeface="Trebuchet MS"/>
              </a:rPr>
              <a:t>Azure</a:t>
            </a:r>
            <a:r>
              <a:rPr sz="800" spc="-155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Data  </a:t>
            </a:r>
            <a:r>
              <a:rPr sz="800" spc="-50">
                <a:latin typeface="Trebuchet MS"/>
                <a:cs typeface="Trebuchet MS"/>
              </a:rPr>
              <a:t>Lake  </a:t>
            </a:r>
            <a:r>
              <a:rPr sz="800" spc="-35">
                <a:latin typeface="Trebuchet MS"/>
                <a:cs typeface="Trebuchet MS"/>
              </a:rPr>
              <a:t>Storage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110" name="object 110"/>
          <p:cNvGrpSpPr/>
          <p:nvPr/>
        </p:nvGrpSpPr>
        <p:grpSpPr>
          <a:xfrm>
            <a:off x="7739113" y="3826027"/>
            <a:ext cx="1527810" cy="2338705"/>
            <a:chOff x="7739113" y="3826027"/>
            <a:chExt cx="1527810" cy="2338705"/>
          </a:xfrm>
        </p:grpSpPr>
        <p:sp>
          <p:nvSpPr>
            <p:cNvPr id="111" name="object 111"/>
            <p:cNvSpPr/>
            <p:nvPr/>
          </p:nvSpPr>
          <p:spPr>
            <a:xfrm>
              <a:off x="7739113" y="4784803"/>
              <a:ext cx="383349" cy="405470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7749095" y="5758679"/>
              <a:ext cx="383349" cy="405470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8274329" y="3826027"/>
              <a:ext cx="76200" cy="822325"/>
            </a:xfrm>
            <a:custGeom>
              <a:avLst/>
              <a:gdLst/>
              <a:ahLst/>
              <a:cxnLst/>
              <a:rect l="l" t="t" r="r" b="b"/>
              <a:pathLst>
                <a:path w="76200" h="822325">
                  <a:moveTo>
                    <a:pt x="28575" y="745782"/>
                  </a:moveTo>
                  <a:lnTo>
                    <a:pt x="0" y="745782"/>
                  </a:lnTo>
                  <a:lnTo>
                    <a:pt x="38100" y="821982"/>
                  </a:lnTo>
                  <a:lnTo>
                    <a:pt x="69850" y="758482"/>
                  </a:lnTo>
                  <a:lnTo>
                    <a:pt x="28575" y="758482"/>
                  </a:lnTo>
                  <a:lnTo>
                    <a:pt x="28575" y="745782"/>
                  </a:lnTo>
                  <a:close/>
                </a:path>
                <a:path w="76200" h="822325">
                  <a:moveTo>
                    <a:pt x="47625" y="0"/>
                  </a:moveTo>
                  <a:lnTo>
                    <a:pt x="28575" y="0"/>
                  </a:lnTo>
                  <a:lnTo>
                    <a:pt x="28575" y="758482"/>
                  </a:lnTo>
                  <a:lnTo>
                    <a:pt x="47625" y="758482"/>
                  </a:lnTo>
                  <a:lnTo>
                    <a:pt x="47625" y="0"/>
                  </a:lnTo>
                  <a:close/>
                </a:path>
                <a:path w="76200" h="822325">
                  <a:moveTo>
                    <a:pt x="76200" y="745782"/>
                  </a:moveTo>
                  <a:lnTo>
                    <a:pt x="47625" y="745782"/>
                  </a:lnTo>
                  <a:lnTo>
                    <a:pt x="47625" y="758482"/>
                  </a:lnTo>
                  <a:lnTo>
                    <a:pt x="69850" y="758482"/>
                  </a:lnTo>
                  <a:lnTo>
                    <a:pt x="76200" y="74578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9058567" y="5521274"/>
              <a:ext cx="208127" cy="76197"/>
            </a:xfrm>
            <a:prstGeom prst="rect">
              <a:avLst/>
            </a:prstGeom>
            <a:blipFill>
              <a:blip r:embed="rId3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674570" y="5155920"/>
              <a:ext cx="398284" cy="410895"/>
            </a:xfrm>
            <a:prstGeom prst="rect">
              <a:avLst/>
            </a:prstGeom>
            <a:blipFill>
              <a:blip r:embed="rId3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6" name="object 116"/>
          <p:cNvSpPr txBox="1"/>
          <p:nvPr/>
        </p:nvSpPr>
        <p:spPr>
          <a:xfrm>
            <a:off x="8542718" y="5602224"/>
            <a:ext cx="62166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Da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t</a:t>
            </a: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ab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r</a:t>
            </a:r>
            <a:r>
              <a:rPr sz="1100" spc="-80">
                <a:solidFill>
                  <a:srgbClr val="FF0000"/>
                </a:solidFill>
                <a:latin typeface="Trebuchet MS"/>
                <a:cs typeface="Trebuchet MS"/>
              </a:rPr>
              <a:t>ic</a:t>
            </a:r>
            <a:r>
              <a:rPr sz="1100" spc="-55">
                <a:solidFill>
                  <a:srgbClr val="FF0000"/>
                </a:solidFill>
                <a:latin typeface="Trebuchet MS"/>
                <a:cs typeface="Trebuchet MS"/>
              </a:rPr>
              <a:t>k</a:t>
            </a:r>
            <a:r>
              <a:rPr sz="1100" spc="-15">
                <a:solidFill>
                  <a:srgbClr val="FF0000"/>
                </a:solidFill>
                <a:latin typeface="Trebuchet MS"/>
                <a:cs typeface="Trebuchet MS"/>
              </a:rPr>
              <a:t>s</a:t>
            </a:r>
            <a:endParaRPr sz="1100">
              <a:latin typeface="Trebuchet MS"/>
              <a:cs typeface="Trebuchet MS"/>
            </a:endParaRPr>
          </a:p>
        </p:txBody>
      </p:sp>
      <p:grpSp>
        <p:nvGrpSpPr>
          <p:cNvPr id="117" name="object 117"/>
          <p:cNvGrpSpPr/>
          <p:nvPr/>
        </p:nvGrpSpPr>
        <p:grpSpPr>
          <a:xfrm>
            <a:off x="6331242" y="4861209"/>
            <a:ext cx="2343785" cy="712470"/>
            <a:chOff x="6331242" y="4861209"/>
            <a:chExt cx="2343785" cy="712470"/>
          </a:xfrm>
        </p:grpSpPr>
        <p:sp>
          <p:nvSpPr>
            <p:cNvPr id="118" name="object 118"/>
            <p:cNvSpPr/>
            <p:nvPr/>
          </p:nvSpPr>
          <p:spPr>
            <a:xfrm>
              <a:off x="8480552" y="5497245"/>
              <a:ext cx="194017" cy="76200"/>
            </a:xfrm>
            <a:prstGeom prst="rect">
              <a:avLst/>
            </a:prstGeom>
            <a:blipFill>
              <a:blip r:embed="rId4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6331242" y="4861209"/>
              <a:ext cx="436854" cy="427146"/>
            </a:xfrm>
            <a:prstGeom prst="rect">
              <a:avLst/>
            </a:prstGeom>
            <a:blipFill>
              <a:blip r:embed="rId4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0" name="object 120"/>
          <p:cNvSpPr txBox="1"/>
          <p:nvPr/>
        </p:nvSpPr>
        <p:spPr>
          <a:xfrm>
            <a:off x="6203734" y="5269992"/>
            <a:ext cx="71120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0">
                <a:solidFill>
                  <a:srgbClr val="FF0000"/>
                </a:solidFill>
                <a:latin typeface="Trebuchet MS"/>
                <a:cs typeface="Trebuchet MS"/>
              </a:rPr>
              <a:t>Da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t</a:t>
            </a:r>
            <a:r>
              <a:rPr sz="1100" spc="-70">
                <a:solidFill>
                  <a:srgbClr val="FF0000"/>
                </a:solidFill>
                <a:latin typeface="Trebuchet MS"/>
                <a:cs typeface="Trebuchet MS"/>
              </a:rPr>
              <a:t>aF</a:t>
            </a:r>
            <a:r>
              <a:rPr sz="1100" spc="-75">
                <a:solidFill>
                  <a:srgbClr val="FF0000"/>
                </a:solidFill>
                <a:latin typeface="Trebuchet MS"/>
                <a:cs typeface="Trebuchet MS"/>
              </a:rPr>
              <a:t>ac</a:t>
            </a:r>
            <a:r>
              <a:rPr sz="1100" spc="-80">
                <a:solidFill>
                  <a:srgbClr val="FF0000"/>
                </a:solidFill>
                <a:latin typeface="Trebuchet MS"/>
                <a:cs typeface="Trebuchet MS"/>
              </a:rPr>
              <a:t>t</a:t>
            </a:r>
            <a:r>
              <a:rPr sz="1100" spc="-25">
                <a:solidFill>
                  <a:srgbClr val="FF0000"/>
                </a:solidFill>
                <a:latin typeface="Trebuchet MS"/>
                <a:cs typeface="Trebuchet MS"/>
              </a:rPr>
              <a:t>o</a:t>
            </a:r>
            <a:r>
              <a:rPr sz="1100" spc="-45">
                <a:solidFill>
                  <a:srgbClr val="FF0000"/>
                </a:solidFill>
                <a:latin typeface="Trebuchet MS"/>
                <a:cs typeface="Trebuchet MS"/>
              </a:rPr>
              <a:t>ry</a:t>
            </a:r>
            <a:endParaRPr sz="1100">
              <a:latin typeface="Trebuchet MS"/>
              <a:cs typeface="Trebuchet MS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9013876" y="1985022"/>
            <a:ext cx="650875" cy="76200"/>
          </a:xfrm>
          <a:custGeom>
            <a:avLst/>
            <a:gdLst/>
            <a:ahLst/>
            <a:cxnLst/>
            <a:rect l="l" t="t" r="r" b="b"/>
            <a:pathLst>
              <a:path w="650875" h="76200">
                <a:moveTo>
                  <a:pt x="641799" y="33261"/>
                </a:moveTo>
                <a:lnTo>
                  <a:pt x="587235" y="33261"/>
                </a:lnTo>
                <a:lnTo>
                  <a:pt x="587286" y="42786"/>
                </a:lnTo>
                <a:lnTo>
                  <a:pt x="574586" y="42855"/>
                </a:lnTo>
                <a:lnTo>
                  <a:pt x="574763" y="76200"/>
                </a:lnTo>
                <a:lnTo>
                  <a:pt x="650760" y="37680"/>
                </a:lnTo>
                <a:lnTo>
                  <a:pt x="641799" y="33261"/>
                </a:lnTo>
                <a:close/>
              </a:path>
              <a:path w="650875" h="76200">
                <a:moveTo>
                  <a:pt x="574535" y="33330"/>
                </a:moveTo>
                <a:lnTo>
                  <a:pt x="0" y="36474"/>
                </a:lnTo>
                <a:lnTo>
                  <a:pt x="50" y="45999"/>
                </a:lnTo>
                <a:lnTo>
                  <a:pt x="574586" y="42855"/>
                </a:lnTo>
                <a:lnTo>
                  <a:pt x="574535" y="33330"/>
                </a:lnTo>
                <a:close/>
              </a:path>
              <a:path w="650875" h="76200">
                <a:moveTo>
                  <a:pt x="587235" y="33261"/>
                </a:moveTo>
                <a:lnTo>
                  <a:pt x="574535" y="33330"/>
                </a:lnTo>
                <a:lnTo>
                  <a:pt x="574586" y="42855"/>
                </a:lnTo>
                <a:lnTo>
                  <a:pt x="587286" y="42786"/>
                </a:lnTo>
                <a:lnTo>
                  <a:pt x="587235" y="33261"/>
                </a:lnTo>
                <a:close/>
              </a:path>
              <a:path w="650875" h="76200">
                <a:moveTo>
                  <a:pt x="574357" y="0"/>
                </a:moveTo>
                <a:lnTo>
                  <a:pt x="574535" y="33330"/>
                </a:lnTo>
                <a:lnTo>
                  <a:pt x="641799" y="33261"/>
                </a:lnTo>
                <a:lnTo>
                  <a:pt x="5743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9971570" y="2000351"/>
            <a:ext cx="1292352" cy="969263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19125" y="1827377"/>
            <a:ext cx="1131570" cy="3853815"/>
            <a:chOff x="619125" y="1827377"/>
            <a:chExt cx="1131570" cy="3853815"/>
          </a:xfrm>
        </p:grpSpPr>
        <p:sp>
          <p:nvSpPr>
            <p:cNvPr id="3" name="object 3"/>
            <p:cNvSpPr/>
            <p:nvPr/>
          </p:nvSpPr>
          <p:spPr>
            <a:xfrm>
              <a:off x="623887" y="1952180"/>
              <a:ext cx="1122045" cy="3724275"/>
            </a:xfrm>
            <a:custGeom>
              <a:avLst/>
              <a:gdLst/>
              <a:ahLst/>
              <a:cxnLst/>
              <a:rect l="l" t="t" r="r" b="b"/>
              <a:pathLst>
                <a:path w="1122045" h="3724275">
                  <a:moveTo>
                    <a:pt x="0" y="0"/>
                  </a:moveTo>
                  <a:lnTo>
                    <a:pt x="1121880" y="0"/>
                  </a:lnTo>
                  <a:lnTo>
                    <a:pt x="11218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772134" y="1827377"/>
              <a:ext cx="727710" cy="252729"/>
            </a:xfrm>
            <a:custGeom>
              <a:avLst/>
              <a:gdLst/>
              <a:ahLst/>
              <a:cxnLst/>
              <a:rect l="l" t="t" r="r" b="b"/>
              <a:pathLst>
                <a:path w="727710" h="252730">
                  <a:moveTo>
                    <a:pt x="727392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727392" y="252298"/>
                  </a:lnTo>
                  <a:lnTo>
                    <a:pt x="727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950890" y="1838451"/>
            <a:ext cx="3714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ou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90">
                <a:solidFill>
                  <a:srgbClr val="6C03A8"/>
                </a:solidFill>
                <a:latin typeface="Trebuchet MS"/>
                <a:cs typeface="Trebuchet MS"/>
              </a:rPr>
              <a:t>c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186330" y="3455492"/>
            <a:ext cx="2513965" cy="2225675"/>
            <a:chOff x="2186330" y="3455492"/>
            <a:chExt cx="2513965" cy="2225675"/>
          </a:xfrm>
        </p:grpSpPr>
        <p:sp>
          <p:nvSpPr>
            <p:cNvPr id="7" name="object 7"/>
            <p:cNvSpPr/>
            <p:nvPr/>
          </p:nvSpPr>
          <p:spPr>
            <a:xfrm>
              <a:off x="2191092" y="3555174"/>
              <a:ext cx="2504440" cy="2121535"/>
            </a:xfrm>
            <a:custGeom>
              <a:avLst/>
              <a:gdLst/>
              <a:ahLst/>
              <a:cxnLst/>
              <a:rect l="l" t="t" r="r" b="b"/>
              <a:pathLst>
                <a:path w="2504440" h="2121535">
                  <a:moveTo>
                    <a:pt x="0" y="0"/>
                  </a:moveTo>
                  <a:lnTo>
                    <a:pt x="2504261" y="0"/>
                  </a:lnTo>
                  <a:lnTo>
                    <a:pt x="2504261" y="2120951"/>
                  </a:lnTo>
                  <a:lnTo>
                    <a:pt x="0" y="212095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967583" y="3455492"/>
              <a:ext cx="943610" cy="252729"/>
            </a:xfrm>
            <a:custGeom>
              <a:avLst/>
              <a:gdLst/>
              <a:ahLst/>
              <a:cxnLst/>
              <a:rect l="l" t="t" r="r" b="b"/>
              <a:pathLst>
                <a:path w="943610" h="252729">
                  <a:moveTo>
                    <a:pt x="943457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943457" y="252298"/>
                  </a:lnTo>
                  <a:lnTo>
                    <a:pt x="94345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117850" y="3466084"/>
            <a:ext cx="64516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Batch</a:t>
            </a:r>
            <a:r>
              <a:rPr sz="1000" spc="-13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ingest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2186381" y="1855419"/>
            <a:ext cx="2513965" cy="1444625"/>
            <a:chOff x="2186381" y="1855419"/>
            <a:chExt cx="2513965" cy="1444625"/>
          </a:xfrm>
        </p:grpSpPr>
        <p:sp>
          <p:nvSpPr>
            <p:cNvPr id="11" name="object 11"/>
            <p:cNvSpPr/>
            <p:nvPr/>
          </p:nvSpPr>
          <p:spPr>
            <a:xfrm>
              <a:off x="2191143" y="1980247"/>
              <a:ext cx="2504440" cy="1314450"/>
            </a:xfrm>
            <a:custGeom>
              <a:avLst/>
              <a:gdLst/>
              <a:ahLst/>
              <a:cxnLst/>
              <a:rect l="l" t="t" r="r" b="b"/>
              <a:pathLst>
                <a:path w="2504440" h="1314450">
                  <a:moveTo>
                    <a:pt x="0" y="0"/>
                  </a:moveTo>
                  <a:lnTo>
                    <a:pt x="2504261" y="0"/>
                  </a:lnTo>
                  <a:lnTo>
                    <a:pt x="2504261" y="1314410"/>
                  </a:lnTo>
                  <a:lnTo>
                    <a:pt x="0" y="13144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871203" y="1855419"/>
              <a:ext cx="1206500" cy="252729"/>
            </a:xfrm>
            <a:custGeom>
              <a:avLst/>
              <a:gdLst/>
              <a:ahLst/>
              <a:cxnLst/>
              <a:rect l="l" t="t" r="r" b="b"/>
              <a:pathLst>
                <a:path w="1206500" h="252730">
                  <a:moveTo>
                    <a:pt x="1205979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1205979" y="252298"/>
                  </a:lnTo>
                  <a:lnTo>
                    <a:pt x="12059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3048749" y="1865883"/>
            <a:ext cx="85216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Event</a:t>
            </a:r>
            <a:r>
              <a:rPr sz="1000" spc="-12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Stream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8932074" y="1814512"/>
            <a:ext cx="1082040" cy="1653539"/>
            <a:chOff x="8932074" y="1814512"/>
            <a:chExt cx="1082040" cy="1653539"/>
          </a:xfrm>
        </p:grpSpPr>
        <p:sp>
          <p:nvSpPr>
            <p:cNvPr id="15" name="object 15"/>
            <p:cNvSpPr/>
            <p:nvPr/>
          </p:nvSpPr>
          <p:spPr>
            <a:xfrm>
              <a:off x="8936837" y="1994433"/>
              <a:ext cx="1072515" cy="1469390"/>
            </a:xfrm>
            <a:custGeom>
              <a:avLst/>
              <a:gdLst/>
              <a:ahLst/>
              <a:cxnLst/>
              <a:rect l="l" t="t" r="r" b="b"/>
              <a:pathLst>
                <a:path w="1072515" h="1469389">
                  <a:moveTo>
                    <a:pt x="0" y="0"/>
                  </a:moveTo>
                  <a:lnTo>
                    <a:pt x="1071910" y="0"/>
                  </a:lnTo>
                  <a:lnTo>
                    <a:pt x="1071910" y="1468770"/>
                  </a:lnTo>
                  <a:lnTo>
                    <a:pt x="0" y="146877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9027845" y="1814512"/>
              <a:ext cx="890269" cy="421005"/>
            </a:xfrm>
            <a:custGeom>
              <a:avLst/>
              <a:gdLst/>
              <a:ahLst/>
              <a:cxnLst/>
              <a:rect l="l" t="t" r="r" b="b"/>
              <a:pathLst>
                <a:path w="890270" h="421005">
                  <a:moveTo>
                    <a:pt x="889888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889888" y="420535"/>
                  </a:lnTo>
                  <a:lnTo>
                    <a:pt x="8898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160853" y="1826259"/>
            <a:ext cx="62484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985" marR="5080" indent="-12192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Op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l  </a:t>
            </a: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system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19126" y="5748863"/>
            <a:ext cx="9394825" cy="630555"/>
            <a:chOff x="619126" y="5748863"/>
            <a:chExt cx="9394825" cy="630555"/>
          </a:xfrm>
        </p:grpSpPr>
        <p:sp>
          <p:nvSpPr>
            <p:cNvPr id="19" name="object 19"/>
            <p:cNvSpPr/>
            <p:nvPr/>
          </p:nvSpPr>
          <p:spPr>
            <a:xfrm>
              <a:off x="623888" y="5889763"/>
              <a:ext cx="9385300" cy="485140"/>
            </a:xfrm>
            <a:custGeom>
              <a:avLst/>
              <a:gdLst/>
              <a:ahLst/>
              <a:cxnLst/>
              <a:rect l="l" t="t" r="r" b="b"/>
              <a:pathLst>
                <a:path w="9385300" h="485139">
                  <a:moveTo>
                    <a:pt x="0" y="0"/>
                  </a:moveTo>
                  <a:lnTo>
                    <a:pt x="9384865" y="0"/>
                  </a:lnTo>
                  <a:lnTo>
                    <a:pt x="938486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35159" y="5748863"/>
              <a:ext cx="784225" cy="252729"/>
            </a:xfrm>
            <a:custGeom>
              <a:avLst/>
              <a:gdLst/>
              <a:ahLst/>
              <a:cxnLst/>
              <a:rect l="l" t="t" r="r" b="b"/>
              <a:pathLst>
                <a:path w="784225" h="252729">
                  <a:moveTo>
                    <a:pt x="783633" y="0"/>
                  </a:moveTo>
                  <a:lnTo>
                    <a:pt x="0" y="0"/>
                  </a:lnTo>
                  <a:lnTo>
                    <a:pt x="0" y="252307"/>
                  </a:lnTo>
                  <a:lnTo>
                    <a:pt x="783633" y="252307"/>
                  </a:lnTo>
                  <a:lnTo>
                    <a:pt x="7836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919015" y="5761227"/>
            <a:ext cx="4165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v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p</a:t>
            </a:r>
            <a:r>
              <a:rPr sz="1000" spc="-1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8904960" y="3541738"/>
            <a:ext cx="1115060" cy="2185035"/>
            <a:chOff x="8904960" y="3541738"/>
            <a:chExt cx="1115060" cy="2185035"/>
          </a:xfrm>
        </p:grpSpPr>
        <p:sp>
          <p:nvSpPr>
            <p:cNvPr id="23" name="object 23"/>
            <p:cNvSpPr/>
            <p:nvPr/>
          </p:nvSpPr>
          <p:spPr>
            <a:xfrm>
              <a:off x="8909722" y="3681425"/>
              <a:ext cx="1105535" cy="2040889"/>
            </a:xfrm>
            <a:custGeom>
              <a:avLst/>
              <a:gdLst/>
              <a:ahLst/>
              <a:cxnLst/>
              <a:rect l="l" t="t" r="r" b="b"/>
              <a:pathLst>
                <a:path w="1105534" h="2040889">
                  <a:moveTo>
                    <a:pt x="0" y="0"/>
                  </a:moveTo>
                  <a:lnTo>
                    <a:pt x="1105430" y="0"/>
                  </a:lnTo>
                  <a:lnTo>
                    <a:pt x="1105430" y="2040401"/>
                  </a:lnTo>
                  <a:lnTo>
                    <a:pt x="0" y="204040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976372" y="3541738"/>
              <a:ext cx="958850" cy="421005"/>
            </a:xfrm>
            <a:custGeom>
              <a:avLst/>
              <a:gdLst/>
              <a:ahLst/>
              <a:cxnLst/>
              <a:rect l="l" t="t" r="r" b="b"/>
              <a:pathLst>
                <a:path w="958850" h="421004">
                  <a:moveTo>
                    <a:pt x="958659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958659" y="420535"/>
                  </a:lnTo>
                  <a:lnTo>
                    <a:pt x="9586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9204045" y="3554476"/>
            <a:ext cx="505459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Analytic</a:t>
            </a:r>
            <a:r>
              <a:rPr sz="1000" spc="-14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000" spc="-140">
                <a:solidFill>
                  <a:srgbClr val="6C03A8"/>
                </a:solidFill>
                <a:latin typeface="Trebuchet MS"/>
                <a:cs typeface="Trebuchet MS"/>
              </a:rPr>
              <a:t>/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169946" y="3706876"/>
            <a:ext cx="57340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Dashboard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619125" y="987844"/>
            <a:ext cx="9339580" cy="617855"/>
            <a:chOff x="619125" y="987844"/>
            <a:chExt cx="9339580" cy="617855"/>
          </a:xfrm>
        </p:grpSpPr>
        <p:sp>
          <p:nvSpPr>
            <p:cNvPr id="28" name="object 28"/>
            <p:cNvSpPr/>
            <p:nvPr/>
          </p:nvSpPr>
          <p:spPr>
            <a:xfrm>
              <a:off x="623887" y="1116152"/>
              <a:ext cx="9330055" cy="485140"/>
            </a:xfrm>
            <a:custGeom>
              <a:avLst/>
              <a:gdLst/>
              <a:ahLst/>
              <a:cxnLst/>
              <a:rect l="l" t="t" r="r" b="b"/>
              <a:pathLst>
                <a:path w="9330055" h="485140">
                  <a:moveTo>
                    <a:pt x="0" y="0"/>
                  </a:moveTo>
                  <a:lnTo>
                    <a:pt x="9329575" y="0"/>
                  </a:lnTo>
                  <a:lnTo>
                    <a:pt x="932957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739622" y="987843"/>
              <a:ext cx="1045210" cy="252729"/>
            </a:xfrm>
            <a:custGeom>
              <a:avLst/>
              <a:gdLst/>
              <a:ahLst/>
              <a:cxnLst/>
              <a:rect l="l" t="t" r="r" b="b"/>
              <a:pathLst>
                <a:path w="1045210" h="252730">
                  <a:moveTo>
                    <a:pt x="1045019" y="0"/>
                  </a:moveTo>
                  <a:lnTo>
                    <a:pt x="0" y="0"/>
                  </a:lnTo>
                  <a:lnTo>
                    <a:pt x="0" y="239991"/>
                  </a:lnTo>
                  <a:lnTo>
                    <a:pt x="0" y="252310"/>
                  </a:lnTo>
                  <a:lnTo>
                    <a:pt x="1045019" y="252310"/>
                  </a:lnTo>
                  <a:lnTo>
                    <a:pt x="1045019" y="239991"/>
                  </a:lnTo>
                  <a:lnTo>
                    <a:pt x="10450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900982" y="1000252"/>
            <a:ext cx="72453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Orchestratio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10101541" y="1827377"/>
            <a:ext cx="1054100" cy="3881120"/>
            <a:chOff x="10101541" y="1827377"/>
            <a:chExt cx="1054100" cy="3881120"/>
          </a:xfrm>
        </p:grpSpPr>
        <p:sp>
          <p:nvSpPr>
            <p:cNvPr id="32" name="object 32"/>
            <p:cNvSpPr/>
            <p:nvPr/>
          </p:nvSpPr>
          <p:spPr>
            <a:xfrm>
              <a:off x="10106304" y="1993125"/>
              <a:ext cx="1044575" cy="3710304"/>
            </a:xfrm>
            <a:custGeom>
              <a:avLst/>
              <a:gdLst/>
              <a:ahLst/>
              <a:cxnLst/>
              <a:rect l="l" t="t" r="r" b="b"/>
              <a:pathLst>
                <a:path w="1044575" h="3710304">
                  <a:moveTo>
                    <a:pt x="0" y="0"/>
                  </a:moveTo>
                  <a:lnTo>
                    <a:pt x="1043990" y="0"/>
                  </a:lnTo>
                  <a:lnTo>
                    <a:pt x="1043990" y="3710122"/>
                  </a:lnTo>
                  <a:lnTo>
                    <a:pt x="0" y="371012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0186021" y="1827377"/>
              <a:ext cx="866775" cy="421005"/>
            </a:xfrm>
            <a:custGeom>
              <a:avLst/>
              <a:gdLst/>
              <a:ahLst/>
              <a:cxnLst/>
              <a:rect l="l" t="t" r="r" b="b"/>
              <a:pathLst>
                <a:path w="866775" h="421005">
                  <a:moveTo>
                    <a:pt x="866711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866711" y="420535"/>
                  </a:lnTo>
                  <a:lnTo>
                    <a:pt x="8667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10329659" y="1838451"/>
            <a:ext cx="58039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u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pp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35">
                <a:solidFill>
                  <a:srgbClr val="6C03A8"/>
                </a:solidFill>
                <a:latin typeface="Trebuchet MS"/>
                <a:cs typeface="Trebuchet MS"/>
              </a:rPr>
              <a:t>g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0482059" y="1990851"/>
            <a:ext cx="27559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l</a:t>
            </a:r>
            <a:r>
              <a:rPr sz="1000" spc="-15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4695342" y="1877745"/>
            <a:ext cx="3145790" cy="3853179"/>
            <a:chOff x="4695342" y="1877745"/>
            <a:chExt cx="3145790" cy="3853179"/>
          </a:xfrm>
        </p:grpSpPr>
        <p:sp>
          <p:nvSpPr>
            <p:cNvPr id="37" name="object 37"/>
            <p:cNvSpPr/>
            <p:nvPr/>
          </p:nvSpPr>
          <p:spPr>
            <a:xfrm>
              <a:off x="4695342" y="3824960"/>
              <a:ext cx="377190" cy="797560"/>
            </a:xfrm>
            <a:custGeom>
              <a:avLst/>
              <a:gdLst/>
              <a:ahLst/>
              <a:cxnLst/>
              <a:rect l="l" t="t" r="r" b="b"/>
              <a:pathLst>
                <a:path w="377189" h="797560">
                  <a:moveTo>
                    <a:pt x="181990" y="784339"/>
                  </a:moveTo>
                  <a:lnTo>
                    <a:pt x="0" y="784339"/>
                  </a:lnTo>
                  <a:lnTo>
                    <a:pt x="0" y="797039"/>
                  </a:lnTo>
                  <a:lnTo>
                    <a:pt x="191846" y="797039"/>
                  </a:lnTo>
                  <a:lnTo>
                    <a:pt x="194690" y="794194"/>
                  </a:lnTo>
                  <a:lnTo>
                    <a:pt x="194690" y="790689"/>
                  </a:lnTo>
                  <a:lnTo>
                    <a:pt x="181990" y="790689"/>
                  </a:lnTo>
                  <a:lnTo>
                    <a:pt x="181990" y="784339"/>
                  </a:lnTo>
                  <a:close/>
                </a:path>
                <a:path w="377189" h="797560">
                  <a:moveTo>
                    <a:pt x="300469" y="31750"/>
                  </a:moveTo>
                  <a:lnTo>
                    <a:pt x="184835" y="31750"/>
                  </a:lnTo>
                  <a:lnTo>
                    <a:pt x="181990" y="34594"/>
                  </a:lnTo>
                  <a:lnTo>
                    <a:pt x="181990" y="790689"/>
                  </a:lnTo>
                  <a:lnTo>
                    <a:pt x="188340" y="784339"/>
                  </a:lnTo>
                  <a:lnTo>
                    <a:pt x="194690" y="784339"/>
                  </a:lnTo>
                  <a:lnTo>
                    <a:pt x="194690" y="44450"/>
                  </a:lnTo>
                  <a:lnTo>
                    <a:pt x="188340" y="44450"/>
                  </a:lnTo>
                  <a:lnTo>
                    <a:pt x="194690" y="38100"/>
                  </a:lnTo>
                  <a:lnTo>
                    <a:pt x="300469" y="38100"/>
                  </a:lnTo>
                  <a:lnTo>
                    <a:pt x="300469" y="31750"/>
                  </a:lnTo>
                  <a:close/>
                </a:path>
                <a:path w="377189" h="797560">
                  <a:moveTo>
                    <a:pt x="194690" y="784339"/>
                  </a:moveTo>
                  <a:lnTo>
                    <a:pt x="188340" y="784339"/>
                  </a:lnTo>
                  <a:lnTo>
                    <a:pt x="181990" y="790689"/>
                  </a:lnTo>
                  <a:lnTo>
                    <a:pt x="194690" y="790689"/>
                  </a:lnTo>
                  <a:lnTo>
                    <a:pt x="194690" y="784339"/>
                  </a:lnTo>
                  <a:close/>
                </a:path>
                <a:path w="377189" h="797560">
                  <a:moveTo>
                    <a:pt x="300469" y="0"/>
                  </a:moveTo>
                  <a:lnTo>
                    <a:pt x="300469" y="76200"/>
                  </a:lnTo>
                  <a:lnTo>
                    <a:pt x="363969" y="44450"/>
                  </a:lnTo>
                  <a:lnTo>
                    <a:pt x="313169" y="44450"/>
                  </a:lnTo>
                  <a:lnTo>
                    <a:pt x="313169" y="31750"/>
                  </a:lnTo>
                  <a:lnTo>
                    <a:pt x="363969" y="31750"/>
                  </a:lnTo>
                  <a:lnTo>
                    <a:pt x="300469" y="0"/>
                  </a:lnTo>
                  <a:close/>
                </a:path>
                <a:path w="377189" h="797560">
                  <a:moveTo>
                    <a:pt x="194690" y="38100"/>
                  </a:moveTo>
                  <a:lnTo>
                    <a:pt x="188340" y="44450"/>
                  </a:lnTo>
                  <a:lnTo>
                    <a:pt x="194690" y="44450"/>
                  </a:lnTo>
                  <a:lnTo>
                    <a:pt x="194690" y="38100"/>
                  </a:lnTo>
                  <a:close/>
                </a:path>
                <a:path w="377189" h="797560">
                  <a:moveTo>
                    <a:pt x="300469" y="38100"/>
                  </a:moveTo>
                  <a:lnTo>
                    <a:pt x="194690" y="38100"/>
                  </a:lnTo>
                  <a:lnTo>
                    <a:pt x="194690" y="44450"/>
                  </a:lnTo>
                  <a:lnTo>
                    <a:pt x="300469" y="44450"/>
                  </a:lnTo>
                  <a:lnTo>
                    <a:pt x="300469" y="38100"/>
                  </a:lnTo>
                  <a:close/>
                </a:path>
                <a:path w="377189" h="797560">
                  <a:moveTo>
                    <a:pt x="363969" y="31750"/>
                  </a:moveTo>
                  <a:lnTo>
                    <a:pt x="313169" y="31750"/>
                  </a:lnTo>
                  <a:lnTo>
                    <a:pt x="313169" y="44450"/>
                  </a:lnTo>
                  <a:lnTo>
                    <a:pt x="363969" y="44450"/>
                  </a:lnTo>
                  <a:lnTo>
                    <a:pt x="376669" y="38100"/>
                  </a:lnTo>
                  <a:lnTo>
                    <a:pt x="363969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558267" y="2001697"/>
              <a:ext cx="1278255" cy="3724275"/>
            </a:xfrm>
            <a:custGeom>
              <a:avLst/>
              <a:gdLst/>
              <a:ahLst/>
              <a:cxnLst/>
              <a:rect l="l" t="t" r="r" b="b"/>
              <a:pathLst>
                <a:path w="1278254" h="3724275">
                  <a:moveTo>
                    <a:pt x="0" y="0"/>
                  </a:moveTo>
                  <a:lnTo>
                    <a:pt x="1277770" y="0"/>
                  </a:lnTo>
                  <a:lnTo>
                    <a:pt x="127777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6615976" y="1877745"/>
              <a:ext cx="1148080" cy="421005"/>
            </a:xfrm>
            <a:custGeom>
              <a:avLst/>
              <a:gdLst/>
              <a:ahLst/>
              <a:cxnLst/>
              <a:rect l="l" t="t" r="r" b="b"/>
              <a:pathLst>
                <a:path w="1148079" h="421005">
                  <a:moveTo>
                    <a:pt x="1147813" y="0"/>
                  </a:moveTo>
                  <a:lnTo>
                    <a:pt x="0" y="0"/>
                  </a:lnTo>
                  <a:lnTo>
                    <a:pt x="0" y="420535"/>
                  </a:lnTo>
                  <a:lnTo>
                    <a:pt x="1147813" y="420535"/>
                  </a:lnTo>
                  <a:lnTo>
                    <a:pt x="11478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4916411" y="3476129"/>
              <a:ext cx="3175" cy="0"/>
            </a:xfrm>
            <a:custGeom>
              <a:avLst/>
              <a:gdLst/>
              <a:ahLst/>
              <a:cxnLst/>
              <a:rect l="l" t="t" r="r" b="b"/>
              <a:pathLst>
                <a:path w="3175">
                  <a:moveTo>
                    <a:pt x="1389" y="-4762"/>
                  </a:moveTo>
                  <a:lnTo>
                    <a:pt x="1389" y="4763"/>
                  </a:lnTo>
                </a:path>
              </a:pathLst>
            </a:custGeom>
            <a:ln w="3175">
              <a:solidFill>
                <a:srgbClr val="A2A2A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6796976" y="1890267"/>
            <a:ext cx="78740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79375">
              <a:lnSpc>
                <a:spcPct val="100000"/>
              </a:lnSpc>
              <a:spcBef>
                <a:spcPts val="100"/>
              </a:spcBef>
            </a:pPr>
            <a:r>
              <a:rPr sz="1000" spc="-45">
                <a:solidFill>
                  <a:srgbClr val="6C03A8"/>
                </a:solidFill>
                <a:latin typeface="Trebuchet MS"/>
                <a:cs typeface="Trebuchet MS"/>
              </a:rPr>
              <a:t>Process and  </a:t>
            </a:r>
            <a:r>
              <a:rPr sz="1000" spc="-6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ra</a:t>
            </a:r>
            <a:r>
              <a:rPr sz="1000" spc="-4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1000" spc="-2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75">
                <a:solidFill>
                  <a:srgbClr val="6C03A8"/>
                </a:solidFill>
                <a:latin typeface="Trebuchet MS"/>
                <a:cs typeface="Trebuchet MS"/>
              </a:rPr>
              <a:t>f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m</a:t>
            </a:r>
            <a:r>
              <a:rPr sz="1000" spc="-70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80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25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626394" y="265290"/>
            <a:ext cx="9339580" cy="617855"/>
            <a:chOff x="626394" y="265290"/>
            <a:chExt cx="9339580" cy="617855"/>
          </a:xfrm>
        </p:grpSpPr>
        <p:sp>
          <p:nvSpPr>
            <p:cNvPr id="43" name="object 43"/>
            <p:cNvSpPr/>
            <p:nvPr/>
          </p:nvSpPr>
          <p:spPr>
            <a:xfrm>
              <a:off x="631156" y="393598"/>
              <a:ext cx="9330055" cy="485140"/>
            </a:xfrm>
            <a:custGeom>
              <a:avLst/>
              <a:gdLst/>
              <a:ahLst/>
              <a:cxnLst/>
              <a:rect l="l" t="t" r="r" b="b"/>
              <a:pathLst>
                <a:path w="9330055" h="485140">
                  <a:moveTo>
                    <a:pt x="0" y="0"/>
                  </a:moveTo>
                  <a:lnTo>
                    <a:pt x="9329575" y="0"/>
                  </a:lnTo>
                  <a:lnTo>
                    <a:pt x="9329575" y="484721"/>
                  </a:lnTo>
                  <a:lnTo>
                    <a:pt x="0" y="48472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46903" y="265290"/>
              <a:ext cx="1045210" cy="252729"/>
            </a:xfrm>
            <a:custGeom>
              <a:avLst/>
              <a:gdLst/>
              <a:ahLst/>
              <a:cxnLst/>
              <a:rect l="l" t="t" r="r" b="b"/>
              <a:pathLst>
                <a:path w="1045210" h="252729">
                  <a:moveTo>
                    <a:pt x="1045015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1045015" y="252298"/>
                  </a:lnTo>
                  <a:lnTo>
                    <a:pt x="10450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973339" y="277875"/>
            <a:ext cx="5937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Monitor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1745767" y="1763712"/>
            <a:ext cx="6656070" cy="3966210"/>
            <a:chOff x="1745767" y="1763712"/>
            <a:chExt cx="6656070" cy="3966210"/>
          </a:xfrm>
        </p:grpSpPr>
        <p:sp>
          <p:nvSpPr>
            <p:cNvPr id="47" name="object 47"/>
            <p:cNvSpPr/>
            <p:nvPr/>
          </p:nvSpPr>
          <p:spPr>
            <a:xfrm>
              <a:off x="1745767" y="2599359"/>
              <a:ext cx="3326765" cy="2054860"/>
            </a:xfrm>
            <a:custGeom>
              <a:avLst/>
              <a:gdLst/>
              <a:ahLst/>
              <a:cxnLst/>
              <a:rect l="l" t="t" r="r" b="b"/>
              <a:pathLst>
                <a:path w="3326765" h="2054860">
                  <a:moveTo>
                    <a:pt x="445376" y="38100"/>
                  </a:moveTo>
                  <a:lnTo>
                    <a:pt x="432676" y="31750"/>
                  </a:lnTo>
                  <a:lnTo>
                    <a:pt x="369176" y="0"/>
                  </a:lnTo>
                  <a:lnTo>
                    <a:pt x="369176" y="31750"/>
                  </a:lnTo>
                  <a:lnTo>
                    <a:pt x="219189" y="31750"/>
                  </a:lnTo>
                  <a:lnTo>
                    <a:pt x="216344" y="34582"/>
                  </a:lnTo>
                  <a:lnTo>
                    <a:pt x="216344" y="1208405"/>
                  </a:lnTo>
                  <a:lnTo>
                    <a:pt x="0" y="1208405"/>
                  </a:lnTo>
                  <a:lnTo>
                    <a:pt x="0" y="1221105"/>
                  </a:lnTo>
                  <a:lnTo>
                    <a:pt x="216306" y="1221105"/>
                  </a:lnTo>
                  <a:lnTo>
                    <a:pt x="216306" y="2019795"/>
                  </a:lnTo>
                  <a:lnTo>
                    <a:pt x="219151" y="2022640"/>
                  </a:lnTo>
                  <a:lnTo>
                    <a:pt x="369125" y="2022640"/>
                  </a:lnTo>
                  <a:lnTo>
                    <a:pt x="369125" y="2054390"/>
                  </a:lnTo>
                  <a:lnTo>
                    <a:pt x="432625" y="2022640"/>
                  </a:lnTo>
                  <a:lnTo>
                    <a:pt x="445325" y="2016290"/>
                  </a:lnTo>
                  <a:lnTo>
                    <a:pt x="432625" y="2009940"/>
                  </a:lnTo>
                  <a:lnTo>
                    <a:pt x="369125" y="1978190"/>
                  </a:lnTo>
                  <a:lnTo>
                    <a:pt x="369125" y="2009940"/>
                  </a:lnTo>
                  <a:lnTo>
                    <a:pt x="229006" y="2009940"/>
                  </a:lnTo>
                  <a:lnTo>
                    <a:pt x="229006" y="1221105"/>
                  </a:lnTo>
                  <a:lnTo>
                    <a:pt x="229006" y="1218298"/>
                  </a:lnTo>
                  <a:lnTo>
                    <a:pt x="229044" y="1214755"/>
                  </a:lnTo>
                  <a:lnTo>
                    <a:pt x="229044" y="1208405"/>
                  </a:lnTo>
                  <a:lnTo>
                    <a:pt x="229044" y="44450"/>
                  </a:lnTo>
                  <a:lnTo>
                    <a:pt x="369176" y="44450"/>
                  </a:lnTo>
                  <a:lnTo>
                    <a:pt x="369176" y="76200"/>
                  </a:lnTo>
                  <a:lnTo>
                    <a:pt x="432676" y="44450"/>
                  </a:lnTo>
                  <a:lnTo>
                    <a:pt x="445376" y="38100"/>
                  </a:lnTo>
                  <a:close/>
                </a:path>
                <a:path w="3326765" h="2054860">
                  <a:moveTo>
                    <a:pt x="3326244" y="1263700"/>
                  </a:moveTo>
                  <a:lnTo>
                    <a:pt x="3313544" y="1257350"/>
                  </a:lnTo>
                  <a:lnTo>
                    <a:pt x="3250044" y="1225600"/>
                  </a:lnTo>
                  <a:lnTo>
                    <a:pt x="3250044" y="1257350"/>
                  </a:lnTo>
                  <a:lnTo>
                    <a:pt x="3144291" y="1257350"/>
                  </a:lnTo>
                  <a:lnTo>
                    <a:pt x="3144291" y="44450"/>
                  </a:lnTo>
                  <a:lnTo>
                    <a:pt x="3144291" y="38100"/>
                  </a:lnTo>
                  <a:lnTo>
                    <a:pt x="3144291" y="34582"/>
                  </a:lnTo>
                  <a:lnTo>
                    <a:pt x="3141446" y="31750"/>
                  </a:lnTo>
                  <a:lnTo>
                    <a:pt x="2949638" y="31750"/>
                  </a:lnTo>
                  <a:lnTo>
                    <a:pt x="2949638" y="44450"/>
                  </a:lnTo>
                  <a:lnTo>
                    <a:pt x="3131591" y="44450"/>
                  </a:lnTo>
                  <a:lnTo>
                    <a:pt x="3131591" y="1267206"/>
                  </a:lnTo>
                  <a:lnTo>
                    <a:pt x="3134436" y="1270050"/>
                  </a:lnTo>
                  <a:lnTo>
                    <a:pt x="3250044" y="1270050"/>
                  </a:lnTo>
                  <a:lnTo>
                    <a:pt x="3250044" y="1301800"/>
                  </a:lnTo>
                  <a:lnTo>
                    <a:pt x="3313544" y="1270050"/>
                  </a:lnTo>
                  <a:lnTo>
                    <a:pt x="3326244" y="126370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4695406" y="1770064"/>
              <a:ext cx="957580" cy="867410"/>
            </a:xfrm>
            <a:custGeom>
              <a:avLst/>
              <a:gdLst/>
              <a:ahLst/>
              <a:cxnLst/>
              <a:rect l="l" t="t" r="r" b="b"/>
              <a:pathLst>
                <a:path w="957579" h="867410">
                  <a:moveTo>
                    <a:pt x="0" y="867395"/>
                  </a:moveTo>
                  <a:lnTo>
                    <a:pt x="189874" y="867395"/>
                  </a:lnTo>
                  <a:lnTo>
                    <a:pt x="189874" y="0"/>
                  </a:lnTo>
                  <a:lnTo>
                    <a:pt x="957504" y="0"/>
                  </a:lnTo>
                </a:path>
              </a:pathLst>
            </a:custGeom>
            <a:ln w="12700">
              <a:solidFill>
                <a:srgbClr val="B7B1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5652909" y="1763712"/>
              <a:ext cx="2748915" cy="252729"/>
            </a:xfrm>
            <a:custGeom>
              <a:avLst/>
              <a:gdLst/>
              <a:ahLst/>
              <a:cxnLst/>
              <a:rect l="l" t="t" r="r" b="b"/>
              <a:pathLst>
                <a:path w="2748915" h="252730">
                  <a:moveTo>
                    <a:pt x="2704045" y="176212"/>
                  </a:moveTo>
                  <a:lnTo>
                    <a:pt x="2672295" y="176212"/>
                  </a:lnTo>
                  <a:lnTo>
                    <a:pt x="2710395" y="252412"/>
                  </a:lnTo>
                  <a:lnTo>
                    <a:pt x="2742145" y="188912"/>
                  </a:lnTo>
                  <a:lnTo>
                    <a:pt x="2704045" y="188912"/>
                  </a:lnTo>
                  <a:lnTo>
                    <a:pt x="2704045" y="176212"/>
                  </a:lnTo>
                  <a:close/>
                </a:path>
                <a:path w="2748915" h="252730">
                  <a:moveTo>
                    <a:pt x="2704045" y="6350"/>
                  </a:moveTo>
                  <a:lnTo>
                    <a:pt x="2704045" y="188912"/>
                  </a:lnTo>
                  <a:lnTo>
                    <a:pt x="2716745" y="188912"/>
                  </a:lnTo>
                  <a:lnTo>
                    <a:pt x="2716745" y="12700"/>
                  </a:lnTo>
                  <a:lnTo>
                    <a:pt x="2710395" y="12700"/>
                  </a:lnTo>
                  <a:lnTo>
                    <a:pt x="2704045" y="6350"/>
                  </a:lnTo>
                  <a:close/>
                </a:path>
                <a:path w="2748915" h="252730">
                  <a:moveTo>
                    <a:pt x="2748495" y="176212"/>
                  </a:moveTo>
                  <a:lnTo>
                    <a:pt x="2716745" y="176212"/>
                  </a:lnTo>
                  <a:lnTo>
                    <a:pt x="2716745" y="188912"/>
                  </a:lnTo>
                  <a:lnTo>
                    <a:pt x="2742145" y="188912"/>
                  </a:lnTo>
                  <a:lnTo>
                    <a:pt x="2748495" y="176212"/>
                  </a:lnTo>
                  <a:close/>
                </a:path>
                <a:path w="2748915" h="252730">
                  <a:moveTo>
                    <a:pt x="2713913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2704045" y="12700"/>
                  </a:lnTo>
                  <a:lnTo>
                    <a:pt x="2704045" y="6350"/>
                  </a:lnTo>
                  <a:lnTo>
                    <a:pt x="2716745" y="6350"/>
                  </a:lnTo>
                  <a:lnTo>
                    <a:pt x="2716745" y="2844"/>
                  </a:lnTo>
                  <a:lnTo>
                    <a:pt x="2713913" y="0"/>
                  </a:lnTo>
                  <a:close/>
                </a:path>
                <a:path w="2748915" h="252730">
                  <a:moveTo>
                    <a:pt x="2716745" y="6350"/>
                  </a:moveTo>
                  <a:lnTo>
                    <a:pt x="2704045" y="6350"/>
                  </a:lnTo>
                  <a:lnTo>
                    <a:pt x="2710395" y="12700"/>
                  </a:lnTo>
                  <a:lnTo>
                    <a:pt x="2716745" y="12700"/>
                  </a:lnTo>
                  <a:lnTo>
                    <a:pt x="2716745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5072011" y="2001126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5537504" y="1896853"/>
            <a:ext cx="269875" cy="155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50"/>
              </a:lnSpc>
            </a:pPr>
            <a:r>
              <a:rPr sz="1000" spc="-60">
                <a:solidFill>
                  <a:srgbClr val="C00000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C00000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C00000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C00000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5238978" y="2338704"/>
            <a:ext cx="3698240" cy="2401570"/>
            <a:chOff x="5238978" y="2338704"/>
            <a:chExt cx="3698240" cy="2401570"/>
          </a:xfrm>
        </p:grpSpPr>
        <p:sp>
          <p:nvSpPr>
            <p:cNvPr id="53" name="object 53"/>
            <p:cNvSpPr/>
            <p:nvPr/>
          </p:nvSpPr>
          <p:spPr>
            <a:xfrm>
              <a:off x="6355384" y="3825531"/>
              <a:ext cx="202882" cy="762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7836039" y="3857281"/>
              <a:ext cx="1073785" cy="882650"/>
            </a:xfrm>
            <a:custGeom>
              <a:avLst/>
              <a:gdLst/>
              <a:ahLst/>
              <a:cxnLst/>
              <a:rect l="l" t="t" r="r" b="b"/>
              <a:pathLst>
                <a:path w="1073784" h="882650">
                  <a:moveTo>
                    <a:pt x="997483" y="806234"/>
                  </a:moveTo>
                  <a:lnTo>
                    <a:pt x="997483" y="882434"/>
                  </a:lnTo>
                  <a:lnTo>
                    <a:pt x="1060983" y="850684"/>
                  </a:lnTo>
                  <a:lnTo>
                    <a:pt x="1010183" y="850684"/>
                  </a:lnTo>
                  <a:lnTo>
                    <a:pt x="1010183" y="837984"/>
                  </a:lnTo>
                  <a:lnTo>
                    <a:pt x="1060983" y="837984"/>
                  </a:lnTo>
                  <a:lnTo>
                    <a:pt x="997483" y="806234"/>
                  </a:lnTo>
                  <a:close/>
                </a:path>
                <a:path w="1073784" h="882650">
                  <a:moveTo>
                    <a:pt x="956919" y="6350"/>
                  </a:moveTo>
                  <a:lnTo>
                    <a:pt x="956919" y="847839"/>
                  </a:lnTo>
                  <a:lnTo>
                    <a:pt x="959764" y="850684"/>
                  </a:lnTo>
                  <a:lnTo>
                    <a:pt x="997483" y="850684"/>
                  </a:lnTo>
                  <a:lnTo>
                    <a:pt x="997483" y="844334"/>
                  </a:lnTo>
                  <a:lnTo>
                    <a:pt x="969619" y="844334"/>
                  </a:lnTo>
                  <a:lnTo>
                    <a:pt x="963269" y="837984"/>
                  </a:lnTo>
                  <a:lnTo>
                    <a:pt x="969619" y="837984"/>
                  </a:lnTo>
                  <a:lnTo>
                    <a:pt x="969619" y="12700"/>
                  </a:lnTo>
                  <a:lnTo>
                    <a:pt x="963269" y="12700"/>
                  </a:lnTo>
                  <a:lnTo>
                    <a:pt x="956919" y="6350"/>
                  </a:lnTo>
                  <a:close/>
                </a:path>
                <a:path w="1073784" h="882650">
                  <a:moveTo>
                    <a:pt x="1060983" y="837984"/>
                  </a:moveTo>
                  <a:lnTo>
                    <a:pt x="1010183" y="837984"/>
                  </a:lnTo>
                  <a:lnTo>
                    <a:pt x="1010183" y="850684"/>
                  </a:lnTo>
                  <a:lnTo>
                    <a:pt x="1060983" y="850684"/>
                  </a:lnTo>
                  <a:lnTo>
                    <a:pt x="1073683" y="844334"/>
                  </a:lnTo>
                  <a:lnTo>
                    <a:pt x="1060983" y="837984"/>
                  </a:lnTo>
                  <a:close/>
                </a:path>
                <a:path w="1073784" h="882650">
                  <a:moveTo>
                    <a:pt x="969619" y="837984"/>
                  </a:moveTo>
                  <a:lnTo>
                    <a:pt x="963269" y="837984"/>
                  </a:lnTo>
                  <a:lnTo>
                    <a:pt x="969619" y="844334"/>
                  </a:lnTo>
                  <a:lnTo>
                    <a:pt x="969619" y="837984"/>
                  </a:lnTo>
                  <a:close/>
                </a:path>
                <a:path w="1073784" h="882650">
                  <a:moveTo>
                    <a:pt x="997483" y="837984"/>
                  </a:moveTo>
                  <a:lnTo>
                    <a:pt x="969619" y="837984"/>
                  </a:lnTo>
                  <a:lnTo>
                    <a:pt x="969619" y="844334"/>
                  </a:lnTo>
                  <a:lnTo>
                    <a:pt x="997483" y="844334"/>
                  </a:lnTo>
                  <a:lnTo>
                    <a:pt x="997483" y="837984"/>
                  </a:lnTo>
                  <a:close/>
                </a:path>
                <a:path w="1073784" h="882650">
                  <a:moveTo>
                    <a:pt x="966774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956919" y="12700"/>
                  </a:lnTo>
                  <a:lnTo>
                    <a:pt x="956919" y="6350"/>
                  </a:lnTo>
                  <a:lnTo>
                    <a:pt x="969619" y="6350"/>
                  </a:lnTo>
                  <a:lnTo>
                    <a:pt x="969619" y="2844"/>
                  </a:lnTo>
                  <a:lnTo>
                    <a:pt x="966774" y="0"/>
                  </a:lnTo>
                  <a:close/>
                </a:path>
                <a:path w="1073784" h="882650">
                  <a:moveTo>
                    <a:pt x="969619" y="6350"/>
                  </a:moveTo>
                  <a:lnTo>
                    <a:pt x="956919" y="6350"/>
                  </a:lnTo>
                  <a:lnTo>
                    <a:pt x="963269" y="12700"/>
                  </a:lnTo>
                  <a:lnTo>
                    <a:pt x="969619" y="12700"/>
                  </a:lnTo>
                  <a:lnTo>
                    <a:pt x="969619" y="63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6355384" y="3824960"/>
              <a:ext cx="202882" cy="7620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7836039" y="2690723"/>
              <a:ext cx="1101090" cy="1179830"/>
            </a:xfrm>
            <a:custGeom>
              <a:avLst/>
              <a:gdLst/>
              <a:ahLst/>
              <a:cxnLst/>
              <a:rect l="l" t="t" r="r" b="b"/>
              <a:pathLst>
                <a:path w="1101090" h="1179829">
                  <a:moveTo>
                    <a:pt x="963612" y="1166558"/>
                  </a:moveTo>
                  <a:lnTo>
                    <a:pt x="0" y="1166558"/>
                  </a:lnTo>
                  <a:lnTo>
                    <a:pt x="0" y="1179258"/>
                  </a:lnTo>
                  <a:lnTo>
                    <a:pt x="973467" y="1179258"/>
                  </a:lnTo>
                  <a:lnTo>
                    <a:pt x="976312" y="1176413"/>
                  </a:lnTo>
                  <a:lnTo>
                    <a:pt x="976312" y="1172908"/>
                  </a:lnTo>
                  <a:lnTo>
                    <a:pt x="963612" y="1172908"/>
                  </a:lnTo>
                  <a:lnTo>
                    <a:pt x="963612" y="1166558"/>
                  </a:lnTo>
                  <a:close/>
                </a:path>
                <a:path w="1101090" h="1179829">
                  <a:moveTo>
                    <a:pt x="1024597" y="31750"/>
                  </a:moveTo>
                  <a:lnTo>
                    <a:pt x="966444" y="31750"/>
                  </a:lnTo>
                  <a:lnTo>
                    <a:pt x="963612" y="34594"/>
                  </a:lnTo>
                  <a:lnTo>
                    <a:pt x="963612" y="1172908"/>
                  </a:lnTo>
                  <a:lnTo>
                    <a:pt x="969962" y="1166558"/>
                  </a:lnTo>
                  <a:lnTo>
                    <a:pt x="976312" y="1166558"/>
                  </a:lnTo>
                  <a:lnTo>
                    <a:pt x="976312" y="44450"/>
                  </a:lnTo>
                  <a:lnTo>
                    <a:pt x="969962" y="44450"/>
                  </a:lnTo>
                  <a:lnTo>
                    <a:pt x="976312" y="38100"/>
                  </a:lnTo>
                  <a:lnTo>
                    <a:pt x="1024597" y="38100"/>
                  </a:lnTo>
                  <a:lnTo>
                    <a:pt x="1024597" y="31750"/>
                  </a:lnTo>
                  <a:close/>
                </a:path>
                <a:path w="1101090" h="1179829">
                  <a:moveTo>
                    <a:pt x="976312" y="1166558"/>
                  </a:moveTo>
                  <a:lnTo>
                    <a:pt x="969962" y="1166558"/>
                  </a:lnTo>
                  <a:lnTo>
                    <a:pt x="963612" y="1172908"/>
                  </a:lnTo>
                  <a:lnTo>
                    <a:pt x="976312" y="1172908"/>
                  </a:lnTo>
                  <a:lnTo>
                    <a:pt x="976312" y="1166558"/>
                  </a:lnTo>
                  <a:close/>
                </a:path>
                <a:path w="1101090" h="1179829">
                  <a:moveTo>
                    <a:pt x="1024597" y="0"/>
                  </a:moveTo>
                  <a:lnTo>
                    <a:pt x="1024597" y="76200"/>
                  </a:lnTo>
                  <a:lnTo>
                    <a:pt x="1088097" y="44450"/>
                  </a:lnTo>
                  <a:lnTo>
                    <a:pt x="1037297" y="44450"/>
                  </a:lnTo>
                  <a:lnTo>
                    <a:pt x="1037297" y="31750"/>
                  </a:lnTo>
                  <a:lnTo>
                    <a:pt x="1088097" y="31750"/>
                  </a:lnTo>
                  <a:lnTo>
                    <a:pt x="1024597" y="0"/>
                  </a:lnTo>
                  <a:close/>
                </a:path>
                <a:path w="1101090" h="1179829">
                  <a:moveTo>
                    <a:pt x="976312" y="38100"/>
                  </a:moveTo>
                  <a:lnTo>
                    <a:pt x="969962" y="44450"/>
                  </a:lnTo>
                  <a:lnTo>
                    <a:pt x="976312" y="44450"/>
                  </a:lnTo>
                  <a:lnTo>
                    <a:pt x="976312" y="38100"/>
                  </a:lnTo>
                  <a:close/>
                </a:path>
                <a:path w="1101090" h="1179829">
                  <a:moveTo>
                    <a:pt x="1024597" y="38100"/>
                  </a:moveTo>
                  <a:lnTo>
                    <a:pt x="976312" y="38100"/>
                  </a:lnTo>
                  <a:lnTo>
                    <a:pt x="976312" y="44450"/>
                  </a:lnTo>
                  <a:lnTo>
                    <a:pt x="1024597" y="44450"/>
                  </a:lnTo>
                  <a:lnTo>
                    <a:pt x="1024597" y="38100"/>
                  </a:lnTo>
                  <a:close/>
                </a:path>
                <a:path w="1101090" h="1179829">
                  <a:moveTo>
                    <a:pt x="1088097" y="31750"/>
                  </a:moveTo>
                  <a:lnTo>
                    <a:pt x="1037297" y="31750"/>
                  </a:lnTo>
                  <a:lnTo>
                    <a:pt x="1037297" y="44450"/>
                  </a:lnTo>
                  <a:lnTo>
                    <a:pt x="1088097" y="44450"/>
                  </a:lnTo>
                  <a:lnTo>
                    <a:pt x="1100797" y="38100"/>
                  </a:lnTo>
                  <a:lnTo>
                    <a:pt x="1088097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5243741" y="3175342"/>
              <a:ext cx="953135" cy="673735"/>
            </a:xfrm>
            <a:custGeom>
              <a:avLst/>
              <a:gdLst/>
              <a:ahLst/>
              <a:cxnLst/>
              <a:rect l="l" t="t" r="r" b="b"/>
              <a:pathLst>
                <a:path w="953135" h="673735">
                  <a:moveTo>
                    <a:pt x="0" y="0"/>
                  </a:moveTo>
                  <a:lnTo>
                    <a:pt x="952700" y="0"/>
                  </a:lnTo>
                  <a:lnTo>
                    <a:pt x="952700" y="673656"/>
                  </a:lnTo>
                  <a:lnTo>
                    <a:pt x="0" y="67365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5247830" y="2343467"/>
              <a:ext cx="941069" cy="642620"/>
            </a:xfrm>
            <a:custGeom>
              <a:avLst/>
              <a:gdLst/>
              <a:ahLst/>
              <a:cxnLst/>
              <a:rect l="l" t="t" r="r" b="b"/>
              <a:pathLst>
                <a:path w="941070" h="642619">
                  <a:moveTo>
                    <a:pt x="0" y="0"/>
                  </a:moveTo>
                  <a:lnTo>
                    <a:pt x="940847" y="0"/>
                  </a:lnTo>
                  <a:lnTo>
                    <a:pt x="940847" y="642286"/>
                  </a:lnTo>
                  <a:lnTo>
                    <a:pt x="0" y="642286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1773656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40029">
              <a:lnSpc>
                <a:spcPct val="100000"/>
              </a:lnSpc>
            </a:pPr>
            <a:r>
              <a:rPr sz="800" spc="-30">
                <a:latin typeface="Trebuchet MS"/>
                <a:cs typeface="Trebuchet MS"/>
              </a:rPr>
              <a:t>Logg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805950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41935">
              <a:lnSpc>
                <a:spcPct val="100000"/>
              </a:lnSpc>
            </a:pPr>
            <a:r>
              <a:rPr sz="800" spc="-15">
                <a:latin typeface="Trebuchet MS"/>
                <a:cs typeface="Trebuchet MS"/>
              </a:rPr>
              <a:t>Metric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3838244" y="532333"/>
            <a:ext cx="803275" cy="252729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34315">
              <a:lnSpc>
                <a:spcPct val="100000"/>
              </a:lnSpc>
            </a:pPr>
            <a:r>
              <a:rPr sz="800" spc="-35">
                <a:latin typeface="Trebuchet MS"/>
                <a:cs typeface="Trebuchet MS"/>
              </a:rPr>
              <a:t>Alert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752993" y="1227836"/>
            <a:ext cx="803275" cy="252729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73355">
              <a:lnSpc>
                <a:spcPts val="955"/>
              </a:lnSpc>
            </a:pPr>
            <a:r>
              <a:rPr sz="800" spc="-30">
                <a:latin typeface="Trebuchet MS"/>
                <a:cs typeface="Trebuchet MS"/>
              </a:rPr>
              <a:t>Schedul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587576" y="6033052"/>
            <a:ext cx="11080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26695">
              <a:lnSpc>
                <a:spcPct val="100000"/>
              </a:lnSpc>
              <a:spcBef>
                <a:spcPts val="5"/>
              </a:spcBef>
            </a:pPr>
            <a:r>
              <a:rPr sz="800" spc="-25">
                <a:latin typeface="Trebuchet MS"/>
                <a:cs typeface="Trebuchet MS"/>
              </a:rPr>
              <a:t>Version</a:t>
            </a:r>
            <a:r>
              <a:rPr sz="800" spc="-6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Control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037700" y="6033627"/>
            <a:ext cx="803275" cy="252729"/>
          </a:xfrm>
          <a:prstGeom prst="rect">
            <a:avLst/>
          </a:prstGeom>
          <a:solidFill>
            <a:srgbClr val="A9EE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800" spc="-45">
                <a:latin typeface="Trebuchet MS"/>
                <a:cs typeface="Trebuchet MS"/>
              </a:rPr>
              <a:t>CI/CD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391016" y="2246807"/>
            <a:ext cx="2137410" cy="6559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48970">
              <a:lnSpc>
                <a:spcPts val="950"/>
              </a:lnSpc>
            </a:pPr>
            <a:r>
              <a:rPr sz="800" spc="-30">
                <a:latin typeface="Trebuchet MS"/>
                <a:cs typeface="Trebuchet MS"/>
              </a:rPr>
              <a:t>Streaming of</a:t>
            </a:r>
            <a:r>
              <a:rPr sz="800" spc="-75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event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399893" y="4868240"/>
            <a:ext cx="2137410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327025">
              <a:lnSpc>
                <a:spcPct val="100000"/>
              </a:lnSpc>
              <a:spcBef>
                <a:spcPts val="10"/>
              </a:spcBef>
            </a:pPr>
            <a:r>
              <a:rPr sz="800" spc="-30">
                <a:latin typeface="Trebuchet MS"/>
                <a:cs typeface="Trebuchet MS"/>
              </a:rPr>
              <a:t>Data </a:t>
            </a:r>
            <a:r>
              <a:rPr sz="800" spc="-40">
                <a:latin typeface="Trebuchet MS"/>
                <a:cs typeface="Trebuchet MS"/>
              </a:rPr>
              <a:t>Replication/ingest </a:t>
            </a:r>
            <a:r>
              <a:rPr sz="800" spc="-25">
                <a:latin typeface="Trebuchet MS"/>
                <a:cs typeface="Trebuchet MS"/>
              </a:rPr>
              <a:t>as </a:t>
            </a:r>
            <a:r>
              <a:rPr sz="800" spc="-40">
                <a:latin typeface="Trebuchet MS"/>
                <a:cs typeface="Trebuchet MS"/>
              </a:rPr>
              <a:t>a</a:t>
            </a:r>
            <a:r>
              <a:rPr sz="800" spc="-120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servic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389949" y="3863060"/>
            <a:ext cx="1077595" cy="66484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38760">
              <a:lnSpc>
                <a:spcPct val="100000"/>
              </a:lnSpc>
              <a:spcBef>
                <a:spcPts val="5"/>
              </a:spcBef>
            </a:pPr>
            <a:r>
              <a:rPr sz="800" spc="-30">
                <a:latin typeface="Trebuchet MS"/>
                <a:cs typeface="Trebuchet MS"/>
              </a:rPr>
              <a:t>Custom</a:t>
            </a:r>
            <a:r>
              <a:rPr sz="800" spc="-50">
                <a:latin typeface="Trebuchet MS"/>
                <a:cs typeface="Trebuchet MS"/>
              </a:rPr>
              <a:t> </a:t>
            </a:r>
            <a:r>
              <a:rPr sz="800" spc="-30">
                <a:latin typeface="Trebuchet MS"/>
                <a:cs typeface="Trebuchet MS"/>
              </a:rPr>
              <a:t>Ingest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369255" y="2347757"/>
            <a:ext cx="701675" cy="956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919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65">
                <a:latin typeface="Trebuchet MS"/>
                <a:cs typeface="Trebuchet MS"/>
              </a:rPr>
              <a:t> </a:t>
            </a:r>
            <a:r>
              <a:rPr sz="800" spc="-45">
                <a:latin typeface="Trebuchet MS"/>
                <a:cs typeface="Trebuchet MS"/>
              </a:rPr>
              <a:t>Lake</a:t>
            </a:r>
            <a:endParaRPr sz="8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0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114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Warehous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9068993" y="4846980"/>
            <a:ext cx="757555" cy="59436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marL="135255" marR="128270" indent="64135">
              <a:lnSpc>
                <a:spcPts val="890"/>
              </a:lnSpc>
              <a:spcBef>
                <a:spcPts val="95"/>
              </a:spcBef>
            </a:pPr>
            <a:r>
              <a:rPr sz="800" spc="-25">
                <a:latin typeface="Trebuchet MS"/>
                <a:cs typeface="Trebuchet MS"/>
              </a:rPr>
              <a:t>Business  </a:t>
            </a:r>
            <a:r>
              <a:rPr sz="800" spc="-20">
                <a:latin typeface="Trebuchet MS"/>
                <a:cs typeface="Trebuchet MS"/>
              </a:rPr>
              <a:t>I</a:t>
            </a:r>
            <a:r>
              <a:rPr sz="800" spc="-30">
                <a:latin typeface="Trebuchet MS"/>
                <a:cs typeface="Trebuchet MS"/>
              </a:rPr>
              <a:t>n</a:t>
            </a:r>
            <a:r>
              <a:rPr sz="800" spc="-45">
                <a:latin typeface="Trebuchet MS"/>
                <a:cs typeface="Trebuchet MS"/>
              </a:rPr>
              <a:t>t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55">
                <a:latin typeface="Trebuchet MS"/>
                <a:cs typeface="Trebuchet MS"/>
              </a:rPr>
              <a:t>ll</a:t>
            </a:r>
            <a:r>
              <a:rPr sz="800" spc="-45">
                <a:latin typeface="Trebuchet MS"/>
                <a:cs typeface="Trebuchet MS"/>
              </a:rPr>
              <a:t>i</a:t>
            </a:r>
            <a:r>
              <a:rPr sz="800" spc="-15">
                <a:latin typeface="Trebuchet MS"/>
                <a:cs typeface="Trebuchet MS"/>
              </a:rPr>
              <a:t>g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20">
                <a:latin typeface="Trebuchet MS"/>
                <a:cs typeface="Trebuchet MS"/>
              </a:rPr>
              <a:t>n</a:t>
            </a:r>
            <a:r>
              <a:rPr sz="800" spc="-50">
                <a:latin typeface="Trebuchet MS"/>
                <a:cs typeface="Trebuchet MS"/>
              </a:rPr>
              <a:t>c</a:t>
            </a:r>
            <a:r>
              <a:rPr sz="800" spc="-40">
                <a:latin typeface="Trebuchet MS"/>
                <a:cs typeface="Trebuchet MS"/>
              </a:rPr>
              <a:t>e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9077249" y="3972140"/>
            <a:ext cx="756920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2540" rIns="0" bIns="0" rtlCol="0">
            <a:spAutoFit/>
          </a:bodyPr>
          <a:lstStyle/>
          <a:p>
            <a:pPr marL="151130" marR="144145" algn="ctr">
              <a:lnSpc>
                <a:spcPct val="98700"/>
              </a:lnSpc>
              <a:spcBef>
                <a:spcPts val="20"/>
              </a:spcBef>
            </a:pPr>
            <a:r>
              <a:rPr sz="800" spc="-10">
                <a:latin typeface="Trebuchet MS"/>
                <a:cs typeface="Trebuchet MS"/>
              </a:rPr>
              <a:t>Machine  </a:t>
            </a:r>
            <a:r>
              <a:rPr sz="800" spc="-35">
                <a:latin typeface="Trebuchet MS"/>
                <a:cs typeface="Trebuchet MS"/>
              </a:rPr>
              <a:t>Learning</a:t>
            </a:r>
            <a:r>
              <a:rPr sz="800" spc="-130">
                <a:latin typeface="Trebuchet MS"/>
                <a:cs typeface="Trebuchet MS"/>
              </a:rPr>
              <a:t> </a:t>
            </a:r>
            <a:r>
              <a:rPr sz="800" spc="-20">
                <a:latin typeface="Trebuchet MS"/>
                <a:cs typeface="Trebuchet MS"/>
              </a:rPr>
              <a:t>&amp;  </a:t>
            </a:r>
            <a:r>
              <a:rPr sz="800" spc="-35">
                <a:latin typeface="Trebuchet MS"/>
                <a:cs typeface="Trebuchet MS"/>
              </a:rPr>
              <a:t>Analytics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0228236" y="2399652"/>
            <a:ext cx="807720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135255">
              <a:lnSpc>
                <a:spcPct val="100000"/>
              </a:lnSpc>
              <a:spcBef>
                <a:spcPts val="10"/>
              </a:spcBef>
            </a:pPr>
            <a:r>
              <a:rPr sz="800" spc="-30">
                <a:latin typeface="Trebuchet MS"/>
                <a:cs typeface="Trebuchet MS"/>
              </a:rPr>
              <a:t>Data</a:t>
            </a:r>
            <a:r>
              <a:rPr sz="800" spc="-65">
                <a:latin typeface="Trebuchet MS"/>
                <a:cs typeface="Trebuchet MS"/>
              </a:rPr>
              <a:t> </a:t>
            </a:r>
            <a:r>
              <a:rPr sz="800" spc="-35">
                <a:latin typeface="Trebuchet MS"/>
                <a:cs typeface="Trebuchet MS"/>
              </a:rPr>
              <a:t>Catalo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0228236" y="3189490"/>
            <a:ext cx="803275" cy="59436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869"/>
              </a:lnSpc>
            </a:pPr>
            <a:r>
              <a:rPr sz="800" spc="-35">
                <a:latin typeface="Trebuchet MS"/>
                <a:cs typeface="Trebuchet MS"/>
              </a:rPr>
              <a:t>Access</a:t>
            </a:r>
            <a:endParaRPr sz="800">
              <a:latin typeface="Trebuchet MS"/>
              <a:cs typeface="Trebuchet MS"/>
            </a:endParaRPr>
          </a:p>
          <a:p>
            <a:pPr marL="635" algn="ctr">
              <a:lnSpc>
                <a:spcPct val="100000"/>
              </a:lnSpc>
              <a:spcBef>
                <a:spcPts val="20"/>
              </a:spcBef>
            </a:pPr>
            <a:r>
              <a:rPr sz="800" spc="-20">
                <a:latin typeface="Trebuchet MS"/>
                <a:cs typeface="Trebuchet MS"/>
              </a:rPr>
              <a:t>Management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73" name="object 73"/>
          <p:cNvGrpSpPr/>
          <p:nvPr/>
        </p:nvGrpSpPr>
        <p:grpSpPr>
          <a:xfrm>
            <a:off x="720391" y="1866620"/>
            <a:ext cx="5640070" cy="3863340"/>
            <a:chOff x="720391" y="1866620"/>
            <a:chExt cx="5640070" cy="3863340"/>
          </a:xfrm>
        </p:grpSpPr>
        <p:sp>
          <p:nvSpPr>
            <p:cNvPr id="74" name="object 74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725153" y="2113076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940845" y="0"/>
                  </a:moveTo>
                  <a:lnTo>
                    <a:pt x="0" y="0"/>
                  </a:lnTo>
                  <a:lnTo>
                    <a:pt x="0" y="267462"/>
                  </a:lnTo>
                  <a:lnTo>
                    <a:pt x="940845" y="267462"/>
                  </a:lnTo>
                  <a:lnTo>
                    <a:pt x="940845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725153" y="2527833"/>
              <a:ext cx="941069" cy="267970"/>
            </a:xfrm>
            <a:custGeom>
              <a:avLst/>
              <a:gdLst/>
              <a:ahLst/>
              <a:cxnLst/>
              <a:rect l="l" t="t" r="r" b="b"/>
              <a:pathLst>
                <a:path w="941069" h="267969">
                  <a:moveTo>
                    <a:pt x="0" y="0"/>
                  </a:moveTo>
                  <a:lnTo>
                    <a:pt x="940847" y="0"/>
                  </a:lnTo>
                  <a:lnTo>
                    <a:pt x="940847" y="267467"/>
                  </a:lnTo>
                  <a:lnTo>
                    <a:pt x="0" y="26746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5072011" y="2000884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1283373" y="0"/>
                  </a:moveTo>
                  <a:lnTo>
                    <a:pt x="0" y="0"/>
                  </a:lnTo>
                  <a:lnTo>
                    <a:pt x="0" y="3723868"/>
                  </a:lnTo>
                  <a:lnTo>
                    <a:pt x="1283373" y="3723868"/>
                  </a:lnTo>
                  <a:lnTo>
                    <a:pt x="128337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5072011" y="2000884"/>
              <a:ext cx="1283970" cy="3724275"/>
            </a:xfrm>
            <a:custGeom>
              <a:avLst/>
              <a:gdLst/>
              <a:ahLst/>
              <a:cxnLst/>
              <a:rect l="l" t="t" r="r" b="b"/>
              <a:pathLst>
                <a:path w="1283970" h="3724275">
                  <a:moveTo>
                    <a:pt x="0" y="0"/>
                  </a:moveTo>
                  <a:lnTo>
                    <a:pt x="1283380" y="0"/>
                  </a:lnTo>
                  <a:lnTo>
                    <a:pt x="1283380" y="3723872"/>
                  </a:lnTo>
                  <a:lnTo>
                    <a:pt x="0" y="372387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5267528" y="1866620"/>
              <a:ext cx="808355" cy="252729"/>
            </a:xfrm>
            <a:custGeom>
              <a:avLst/>
              <a:gdLst/>
              <a:ahLst/>
              <a:cxnLst/>
              <a:rect l="l" t="t" r="r" b="b"/>
              <a:pathLst>
                <a:path w="808354" h="252730">
                  <a:moveTo>
                    <a:pt x="808240" y="0"/>
                  </a:moveTo>
                  <a:lnTo>
                    <a:pt x="0" y="0"/>
                  </a:lnTo>
                  <a:lnTo>
                    <a:pt x="0" y="252298"/>
                  </a:lnTo>
                  <a:lnTo>
                    <a:pt x="808240" y="252298"/>
                  </a:lnTo>
                  <a:lnTo>
                    <a:pt x="80824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1" name="object 81"/>
          <p:cNvSpPr txBox="1"/>
          <p:nvPr/>
        </p:nvSpPr>
        <p:spPr>
          <a:xfrm>
            <a:off x="5524804" y="1878075"/>
            <a:ext cx="2952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sz="1000" spc="-30">
                <a:solidFill>
                  <a:srgbClr val="6C03A8"/>
                </a:solidFill>
                <a:latin typeface="Trebuchet MS"/>
                <a:cs typeface="Trebuchet MS"/>
              </a:rPr>
              <a:t>o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5231955" y="2212162"/>
            <a:ext cx="984885" cy="12782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39395">
              <a:lnSpc>
                <a:spcPts val="1095"/>
              </a:lnSpc>
            </a:pPr>
            <a:r>
              <a:rPr sz="1000" spc="-45">
                <a:latin typeface="Trebuchet MS"/>
                <a:cs typeface="Trebuchet MS"/>
              </a:rPr>
              <a:t>Data</a:t>
            </a:r>
            <a:r>
              <a:rPr sz="1000" spc="-95">
                <a:latin typeface="Trebuchet MS"/>
                <a:cs typeface="Trebuchet MS"/>
              </a:rPr>
              <a:t> </a:t>
            </a:r>
            <a:r>
              <a:rPr sz="1000" spc="-60">
                <a:latin typeface="Trebuchet MS"/>
                <a:cs typeface="Trebuchet MS"/>
              </a:rPr>
              <a:t>Lak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5231460" y="3697897"/>
            <a:ext cx="987425" cy="1469390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105"/>
              </a:lnSpc>
            </a:pPr>
            <a:r>
              <a:rPr sz="1000" spc="-45">
                <a:latin typeface="Trebuchet MS"/>
                <a:cs typeface="Trebuchet MS"/>
              </a:rPr>
              <a:t>Data</a:t>
            </a:r>
            <a:endParaRPr sz="10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1000" spc="-30">
                <a:latin typeface="Trebuchet MS"/>
                <a:cs typeface="Trebuchet MS"/>
              </a:rPr>
              <a:t>Warehouse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6665176" y="2346413"/>
            <a:ext cx="1017905" cy="53276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8255" rIns="0" bIns="0" rtlCol="0">
            <a:spAutoFit/>
          </a:bodyPr>
          <a:lstStyle/>
          <a:p>
            <a:pPr marL="309245" marR="133985" indent="-169545">
              <a:lnSpc>
                <a:spcPts val="910"/>
              </a:lnSpc>
              <a:spcBef>
                <a:spcPts val="65"/>
              </a:spcBef>
            </a:pPr>
            <a:r>
              <a:rPr sz="800" spc="-30">
                <a:latin typeface="Trebuchet MS"/>
                <a:cs typeface="Trebuchet MS"/>
              </a:rPr>
              <a:t>Processing </a:t>
            </a:r>
            <a:r>
              <a:rPr sz="800" spc="-35">
                <a:latin typeface="Trebuchet MS"/>
                <a:cs typeface="Trebuchet MS"/>
              </a:rPr>
              <a:t>(Spark  Platform)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6681165" y="3059315"/>
            <a:ext cx="1017905" cy="532765"/>
          </a:xfrm>
          <a:prstGeom prst="rect">
            <a:avLst/>
          </a:prstGeom>
          <a:solidFill>
            <a:srgbClr val="29D5FF"/>
          </a:solidFill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82880">
              <a:lnSpc>
                <a:spcPts val="960"/>
              </a:lnSpc>
            </a:pPr>
            <a:r>
              <a:rPr sz="800" spc="-30">
                <a:latin typeface="Trebuchet MS"/>
                <a:cs typeface="Trebuchet MS"/>
              </a:rPr>
              <a:t>Transformation</a:t>
            </a:r>
            <a:endParaRPr sz="800">
              <a:latin typeface="Trebuchet MS"/>
              <a:cs typeface="Trebuchet MS"/>
            </a:endParaRPr>
          </a:p>
        </p:txBody>
      </p:sp>
      <p:grpSp>
        <p:nvGrpSpPr>
          <p:cNvPr id="86" name="object 86"/>
          <p:cNvGrpSpPr/>
          <p:nvPr/>
        </p:nvGrpSpPr>
        <p:grpSpPr>
          <a:xfrm>
            <a:off x="7986661" y="2016112"/>
            <a:ext cx="1936114" cy="3324860"/>
            <a:chOff x="7986661" y="2016112"/>
            <a:chExt cx="1936114" cy="3324860"/>
          </a:xfrm>
        </p:grpSpPr>
        <p:sp>
          <p:nvSpPr>
            <p:cNvPr id="87" name="object 87"/>
            <p:cNvSpPr/>
            <p:nvPr/>
          </p:nvSpPr>
          <p:spPr>
            <a:xfrm>
              <a:off x="8741054" y="2690723"/>
              <a:ext cx="195783" cy="762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9027845" y="2416213"/>
              <a:ext cx="890269" cy="252095"/>
            </a:xfrm>
            <a:custGeom>
              <a:avLst/>
              <a:gdLst/>
              <a:ahLst/>
              <a:cxnLst/>
              <a:rect l="l" t="t" r="r" b="b"/>
              <a:pathLst>
                <a:path w="890270" h="252094">
                  <a:moveTo>
                    <a:pt x="0" y="0"/>
                  </a:moveTo>
                  <a:lnTo>
                    <a:pt x="889892" y="0"/>
                  </a:lnTo>
                  <a:lnTo>
                    <a:pt x="889892" y="251853"/>
                  </a:lnTo>
                  <a:lnTo>
                    <a:pt x="0" y="25185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9027845" y="2792513"/>
              <a:ext cx="890269" cy="252095"/>
            </a:xfrm>
            <a:custGeom>
              <a:avLst/>
              <a:gdLst/>
              <a:ahLst/>
              <a:cxnLst/>
              <a:rect l="l" t="t" r="r" b="b"/>
              <a:pathLst>
                <a:path w="890270" h="252094">
                  <a:moveTo>
                    <a:pt x="0" y="0"/>
                  </a:moveTo>
                  <a:lnTo>
                    <a:pt x="889892" y="0"/>
                  </a:lnTo>
                  <a:lnTo>
                    <a:pt x="889892" y="251853"/>
                  </a:lnTo>
                  <a:lnTo>
                    <a:pt x="0" y="25185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991423" y="4201109"/>
              <a:ext cx="729615" cy="1135380"/>
            </a:xfrm>
            <a:custGeom>
              <a:avLst/>
              <a:gdLst/>
              <a:ahLst/>
              <a:cxnLst/>
              <a:rect l="l" t="t" r="r" b="b"/>
              <a:pathLst>
                <a:path w="729615" h="1135379">
                  <a:moveTo>
                    <a:pt x="729615" y="0"/>
                  </a:moveTo>
                  <a:lnTo>
                    <a:pt x="0" y="0"/>
                  </a:lnTo>
                  <a:lnTo>
                    <a:pt x="0" y="1134808"/>
                  </a:lnTo>
                  <a:lnTo>
                    <a:pt x="729615" y="1134808"/>
                  </a:lnTo>
                  <a:lnTo>
                    <a:pt x="7296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7991423" y="4201109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0" y="0"/>
                  </a:moveTo>
                  <a:lnTo>
                    <a:pt x="729625" y="0"/>
                  </a:lnTo>
                  <a:lnTo>
                    <a:pt x="729625" y="1134810"/>
                  </a:lnTo>
                  <a:lnTo>
                    <a:pt x="0" y="11348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8011426" y="2161412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729627" y="0"/>
                  </a:moveTo>
                  <a:lnTo>
                    <a:pt x="0" y="0"/>
                  </a:lnTo>
                  <a:lnTo>
                    <a:pt x="0" y="1134808"/>
                  </a:lnTo>
                  <a:lnTo>
                    <a:pt x="729627" y="1134808"/>
                  </a:lnTo>
                  <a:lnTo>
                    <a:pt x="7296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8011426" y="2161412"/>
              <a:ext cx="730250" cy="1135380"/>
            </a:xfrm>
            <a:custGeom>
              <a:avLst/>
              <a:gdLst/>
              <a:ahLst/>
              <a:cxnLst/>
              <a:rect l="l" t="t" r="r" b="b"/>
              <a:pathLst>
                <a:path w="730250" h="1135379">
                  <a:moveTo>
                    <a:pt x="0" y="0"/>
                  </a:moveTo>
                  <a:lnTo>
                    <a:pt x="729625" y="0"/>
                  </a:lnTo>
                  <a:lnTo>
                    <a:pt x="729625" y="1134810"/>
                  </a:lnTo>
                  <a:lnTo>
                    <a:pt x="0" y="113481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22222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8058060" y="2016112"/>
              <a:ext cx="610870" cy="252729"/>
            </a:xfrm>
            <a:custGeom>
              <a:avLst/>
              <a:gdLst/>
              <a:ahLst/>
              <a:cxnLst/>
              <a:rect l="l" t="t" r="r" b="b"/>
              <a:pathLst>
                <a:path w="610870" h="252730">
                  <a:moveTo>
                    <a:pt x="610488" y="0"/>
                  </a:moveTo>
                  <a:lnTo>
                    <a:pt x="0" y="0"/>
                  </a:lnTo>
                  <a:lnTo>
                    <a:pt x="0" y="252310"/>
                  </a:lnTo>
                  <a:lnTo>
                    <a:pt x="610488" y="252310"/>
                  </a:lnTo>
                  <a:lnTo>
                    <a:pt x="6104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5" name="object 95"/>
          <p:cNvSpPr txBox="1"/>
          <p:nvPr/>
        </p:nvSpPr>
        <p:spPr>
          <a:xfrm>
            <a:off x="8191855" y="2027427"/>
            <a:ext cx="492836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60">
                <a:solidFill>
                  <a:srgbClr val="6C03A8"/>
                </a:solidFill>
                <a:latin typeface="Trebuchet MS"/>
                <a:cs typeface="Trebuchet MS"/>
              </a:rPr>
              <a:t>S</a:t>
            </a:r>
            <a:r>
              <a:rPr sz="1000" spc="-55">
                <a:solidFill>
                  <a:srgbClr val="6C03A8"/>
                </a:solidFill>
                <a:latin typeface="Trebuchet MS"/>
                <a:cs typeface="Trebuchet MS"/>
              </a:rPr>
              <a:t>t</a:t>
            </a:r>
            <a:r>
              <a:rPr lang="nb-NO" sz="1000" spc="-55">
                <a:solidFill>
                  <a:srgbClr val="6C03A8"/>
                </a:solidFill>
                <a:latin typeface="Trebuchet MS"/>
                <a:cs typeface="Trebuchet MS"/>
              </a:rPr>
              <a:t>r</a:t>
            </a:r>
            <a:r>
              <a:rPr sz="1000" spc="-65" err="1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1000" spc="-70" err="1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1000" spc="-35" err="1">
                <a:solidFill>
                  <a:srgbClr val="6C03A8"/>
                </a:solidFill>
                <a:latin typeface="Trebuchet MS"/>
                <a:cs typeface="Trebuchet MS"/>
              </a:rPr>
              <a:t>m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8054885" y="2352395"/>
            <a:ext cx="643255" cy="655955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122555" marR="115570" indent="-635" algn="ctr">
              <a:lnSpc>
                <a:spcPct val="98700"/>
              </a:lnSpc>
              <a:spcBef>
                <a:spcPts val="10"/>
              </a:spcBef>
            </a:pPr>
            <a:r>
              <a:rPr sz="800" spc="-35">
                <a:latin typeface="Trebuchet MS"/>
                <a:cs typeface="Trebuchet MS"/>
              </a:rPr>
              <a:t>Stream  p</a:t>
            </a:r>
            <a:r>
              <a:rPr sz="800" spc="-20">
                <a:latin typeface="Trebuchet MS"/>
                <a:cs typeface="Trebuchet MS"/>
              </a:rPr>
              <a:t>r</a:t>
            </a:r>
            <a:r>
              <a:rPr sz="800" spc="-10">
                <a:latin typeface="Trebuchet MS"/>
                <a:cs typeface="Trebuchet MS"/>
              </a:rPr>
              <a:t>o</a:t>
            </a:r>
            <a:r>
              <a:rPr sz="800" spc="-50">
                <a:latin typeface="Trebuchet MS"/>
                <a:cs typeface="Trebuchet MS"/>
              </a:rPr>
              <a:t>c</a:t>
            </a:r>
            <a:r>
              <a:rPr sz="800" spc="-40">
                <a:latin typeface="Trebuchet MS"/>
                <a:cs typeface="Trebuchet MS"/>
              </a:rPr>
              <a:t>e</a:t>
            </a:r>
            <a:r>
              <a:rPr sz="800" spc="-20">
                <a:latin typeface="Trebuchet MS"/>
                <a:cs typeface="Trebuchet MS"/>
              </a:rPr>
              <a:t>ss</a:t>
            </a:r>
            <a:r>
              <a:rPr sz="800" spc="-45">
                <a:latin typeface="Trebuchet MS"/>
                <a:cs typeface="Trebuchet MS"/>
              </a:rPr>
              <a:t>i</a:t>
            </a:r>
            <a:r>
              <a:rPr sz="800" spc="-15">
                <a:latin typeface="Trebuchet MS"/>
                <a:cs typeface="Trebuchet MS"/>
              </a:rPr>
              <a:t>n  </a:t>
            </a:r>
            <a:r>
              <a:rPr sz="800" spc="-25">
                <a:latin typeface="Trebuchet MS"/>
                <a:cs typeface="Trebuchet MS"/>
              </a:rPr>
              <a:t>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8051825" y="4045965"/>
            <a:ext cx="610870" cy="25272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24130" rIns="0" bIns="0" rtlCol="0">
            <a:spAutoFit/>
          </a:bodyPr>
          <a:lstStyle/>
          <a:p>
            <a:pPr marL="120014">
              <a:lnSpc>
                <a:spcPct val="100000"/>
              </a:lnSpc>
              <a:spcBef>
                <a:spcPts val="190"/>
              </a:spcBef>
            </a:pPr>
            <a:r>
              <a:rPr sz="1000" spc="-50">
                <a:solidFill>
                  <a:srgbClr val="6C03A8"/>
                </a:solidFill>
                <a:latin typeface="Trebuchet MS"/>
                <a:cs typeface="Trebuchet MS"/>
              </a:rPr>
              <a:t>Serving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8047431" y="4330737"/>
            <a:ext cx="610870" cy="290830"/>
          </a:xfrm>
          <a:prstGeom prst="rect">
            <a:avLst/>
          </a:prstGeom>
          <a:ln w="9525">
            <a:solidFill>
              <a:srgbClr val="222222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51130">
              <a:lnSpc>
                <a:spcPts val="955"/>
              </a:lnSpc>
            </a:pPr>
            <a:r>
              <a:rPr sz="800" spc="-30">
                <a:latin typeface="Trebuchet MS"/>
                <a:cs typeface="Trebuchet MS"/>
              </a:rPr>
              <a:t>Serving</a:t>
            </a:r>
            <a:endParaRPr sz="800">
              <a:latin typeface="Trebuchet MS"/>
              <a:cs typeface="Trebuchet MS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836039" y="3857281"/>
            <a:ext cx="559435" cy="189230"/>
          </a:xfrm>
          <a:custGeom>
            <a:avLst/>
            <a:gdLst/>
            <a:ahLst/>
            <a:cxnLst/>
            <a:rect l="l" t="t" r="r" b="b"/>
            <a:pathLst>
              <a:path w="559434" h="189229">
                <a:moveTo>
                  <a:pt x="514692" y="112483"/>
                </a:moveTo>
                <a:lnTo>
                  <a:pt x="482942" y="112483"/>
                </a:lnTo>
                <a:lnTo>
                  <a:pt x="521042" y="188683"/>
                </a:lnTo>
                <a:lnTo>
                  <a:pt x="552792" y="125183"/>
                </a:lnTo>
                <a:lnTo>
                  <a:pt x="514692" y="125183"/>
                </a:lnTo>
                <a:lnTo>
                  <a:pt x="514692" y="112483"/>
                </a:lnTo>
                <a:close/>
              </a:path>
              <a:path w="559434" h="189229">
                <a:moveTo>
                  <a:pt x="514692" y="6350"/>
                </a:moveTo>
                <a:lnTo>
                  <a:pt x="514692" y="125183"/>
                </a:lnTo>
                <a:lnTo>
                  <a:pt x="527392" y="125183"/>
                </a:lnTo>
                <a:lnTo>
                  <a:pt x="527392" y="12700"/>
                </a:lnTo>
                <a:lnTo>
                  <a:pt x="521042" y="12700"/>
                </a:lnTo>
                <a:lnTo>
                  <a:pt x="514692" y="6350"/>
                </a:lnTo>
                <a:close/>
              </a:path>
              <a:path w="559434" h="189229">
                <a:moveTo>
                  <a:pt x="559142" y="112483"/>
                </a:moveTo>
                <a:lnTo>
                  <a:pt x="527392" y="112483"/>
                </a:lnTo>
                <a:lnTo>
                  <a:pt x="527392" y="125183"/>
                </a:lnTo>
                <a:lnTo>
                  <a:pt x="552792" y="125183"/>
                </a:lnTo>
                <a:lnTo>
                  <a:pt x="559142" y="112483"/>
                </a:lnTo>
                <a:close/>
              </a:path>
              <a:path w="559434" h="189229">
                <a:moveTo>
                  <a:pt x="524548" y="0"/>
                </a:moveTo>
                <a:lnTo>
                  <a:pt x="0" y="0"/>
                </a:lnTo>
                <a:lnTo>
                  <a:pt x="0" y="12700"/>
                </a:lnTo>
                <a:lnTo>
                  <a:pt x="514692" y="12700"/>
                </a:lnTo>
                <a:lnTo>
                  <a:pt x="514692" y="6350"/>
                </a:lnTo>
                <a:lnTo>
                  <a:pt x="527392" y="6350"/>
                </a:lnTo>
                <a:lnTo>
                  <a:pt x="527392" y="2844"/>
                </a:lnTo>
                <a:lnTo>
                  <a:pt x="524548" y="0"/>
                </a:lnTo>
                <a:close/>
              </a:path>
              <a:path w="559434" h="189229">
                <a:moveTo>
                  <a:pt x="527392" y="6350"/>
                </a:moveTo>
                <a:lnTo>
                  <a:pt x="514692" y="6350"/>
                </a:lnTo>
                <a:lnTo>
                  <a:pt x="521042" y="12700"/>
                </a:lnTo>
                <a:lnTo>
                  <a:pt x="527392" y="12700"/>
                </a:lnTo>
                <a:lnTo>
                  <a:pt x="527392" y="6350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spc="-20"/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25625545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60548"/>
            <a:ext cx="654494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5">
                <a:solidFill>
                  <a:srgbClr val="FFFFFF"/>
                </a:solidFill>
              </a:rPr>
              <a:t>ML </a:t>
            </a:r>
            <a:r>
              <a:rPr sz="4400" spc="-254">
                <a:solidFill>
                  <a:srgbClr val="FFFFFF"/>
                </a:solidFill>
              </a:rPr>
              <a:t>system </a:t>
            </a:r>
            <a:r>
              <a:rPr sz="4400" spc="-215">
                <a:solidFill>
                  <a:srgbClr val="FFFFFF"/>
                </a:solidFill>
              </a:rPr>
              <a:t>design</a:t>
            </a:r>
            <a:r>
              <a:rPr sz="4400" spc="-745">
                <a:solidFill>
                  <a:srgbClr val="FFFFFF"/>
                </a:solidFill>
              </a:rPr>
              <a:t> </a:t>
            </a:r>
            <a:r>
              <a:rPr sz="4400" spc="-220">
                <a:solidFill>
                  <a:srgbClr val="FFFFFF"/>
                </a:solidFill>
              </a:rPr>
              <a:t>workshop</a:t>
            </a:r>
            <a:endParaRPr sz="440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26150" y="6456679"/>
            <a:ext cx="1397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32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0471239" y="3111"/>
            <a:ext cx="1720850" cy="1191895"/>
            <a:chOff x="10471239" y="3111"/>
            <a:chExt cx="1720850" cy="1191895"/>
          </a:xfrm>
        </p:grpSpPr>
        <p:sp>
          <p:nvSpPr>
            <p:cNvPr id="4" name="object 4"/>
            <p:cNvSpPr/>
            <p:nvPr/>
          </p:nvSpPr>
          <p:spPr>
            <a:xfrm>
              <a:off x="10471239" y="3111"/>
              <a:ext cx="1720850" cy="1191895"/>
            </a:xfrm>
            <a:custGeom>
              <a:avLst/>
              <a:gdLst/>
              <a:ahLst/>
              <a:cxnLst/>
              <a:rect l="l" t="t" r="r" b="b"/>
              <a:pathLst>
                <a:path w="1720850" h="1191895">
                  <a:moveTo>
                    <a:pt x="1720761" y="0"/>
                  </a:moveTo>
                  <a:lnTo>
                    <a:pt x="0" y="0"/>
                  </a:lnTo>
                  <a:lnTo>
                    <a:pt x="0" y="1191310"/>
                  </a:lnTo>
                  <a:lnTo>
                    <a:pt x="1720761" y="1191310"/>
                  </a:lnTo>
                  <a:lnTo>
                    <a:pt x="1720761" y="0"/>
                  </a:lnTo>
                  <a:close/>
                </a:path>
              </a:pathLst>
            </a:custGeom>
            <a:solidFill>
              <a:srgbClr val="E8E8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0586085" y="140652"/>
              <a:ext cx="252006" cy="25200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2884093" y="2076310"/>
            <a:ext cx="3223895" cy="3326129"/>
            <a:chOff x="2884093" y="2076310"/>
            <a:chExt cx="3223895" cy="3326129"/>
          </a:xfrm>
        </p:grpSpPr>
        <p:sp>
          <p:nvSpPr>
            <p:cNvPr id="7" name="object 7"/>
            <p:cNvSpPr/>
            <p:nvPr/>
          </p:nvSpPr>
          <p:spPr>
            <a:xfrm>
              <a:off x="2884093" y="2076310"/>
              <a:ext cx="1562100" cy="3326129"/>
            </a:xfrm>
            <a:custGeom>
              <a:avLst/>
              <a:gdLst/>
              <a:ahLst/>
              <a:cxnLst/>
              <a:rect l="l" t="t" r="r" b="b"/>
              <a:pathLst>
                <a:path w="1562100" h="3326129">
                  <a:moveTo>
                    <a:pt x="44450" y="1619021"/>
                  </a:moveTo>
                  <a:lnTo>
                    <a:pt x="31750" y="1619021"/>
                  </a:lnTo>
                  <a:lnTo>
                    <a:pt x="31750" y="1657121"/>
                  </a:lnTo>
                  <a:lnTo>
                    <a:pt x="44450" y="1657121"/>
                  </a:lnTo>
                  <a:lnTo>
                    <a:pt x="44450" y="1619021"/>
                  </a:lnTo>
                  <a:close/>
                </a:path>
                <a:path w="1562100" h="3326129">
                  <a:moveTo>
                    <a:pt x="44450" y="1568221"/>
                  </a:moveTo>
                  <a:lnTo>
                    <a:pt x="31750" y="1568221"/>
                  </a:lnTo>
                  <a:lnTo>
                    <a:pt x="31750" y="1606321"/>
                  </a:lnTo>
                  <a:lnTo>
                    <a:pt x="44450" y="1606321"/>
                  </a:lnTo>
                  <a:lnTo>
                    <a:pt x="44450" y="1568221"/>
                  </a:lnTo>
                  <a:close/>
                </a:path>
                <a:path w="1562100" h="3326129">
                  <a:moveTo>
                    <a:pt x="44450" y="1517421"/>
                  </a:moveTo>
                  <a:lnTo>
                    <a:pt x="31750" y="1517421"/>
                  </a:lnTo>
                  <a:lnTo>
                    <a:pt x="31750" y="1555521"/>
                  </a:lnTo>
                  <a:lnTo>
                    <a:pt x="44450" y="1555521"/>
                  </a:lnTo>
                  <a:lnTo>
                    <a:pt x="44450" y="1517421"/>
                  </a:lnTo>
                  <a:close/>
                </a:path>
                <a:path w="1562100" h="3326129">
                  <a:moveTo>
                    <a:pt x="44450" y="1466621"/>
                  </a:moveTo>
                  <a:lnTo>
                    <a:pt x="31750" y="1466621"/>
                  </a:lnTo>
                  <a:lnTo>
                    <a:pt x="31750" y="1504721"/>
                  </a:lnTo>
                  <a:lnTo>
                    <a:pt x="44450" y="1504721"/>
                  </a:lnTo>
                  <a:lnTo>
                    <a:pt x="44450" y="1466621"/>
                  </a:lnTo>
                  <a:close/>
                </a:path>
                <a:path w="1562100" h="3326129">
                  <a:moveTo>
                    <a:pt x="44450" y="1415821"/>
                  </a:moveTo>
                  <a:lnTo>
                    <a:pt x="31750" y="1415821"/>
                  </a:lnTo>
                  <a:lnTo>
                    <a:pt x="31750" y="1453921"/>
                  </a:lnTo>
                  <a:lnTo>
                    <a:pt x="44450" y="1453921"/>
                  </a:lnTo>
                  <a:lnTo>
                    <a:pt x="44450" y="1415821"/>
                  </a:lnTo>
                  <a:close/>
                </a:path>
                <a:path w="1562100" h="3326129">
                  <a:moveTo>
                    <a:pt x="44450" y="1365021"/>
                  </a:moveTo>
                  <a:lnTo>
                    <a:pt x="31750" y="1365021"/>
                  </a:lnTo>
                  <a:lnTo>
                    <a:pt x="31750" y="1403121"/>
                  </a:lnTo>
                  <a:lnTo>
                    <a:pt x="44450" y="1403121"/>
                  </a:lnTo>
                  <a:lnTo>
                    <a:pt x="44450" y="1365021"/>
                  </a:lnTo>
                  <a:close/>
                </a:path>
                <a:path w="1562100" h="3326129">
                  <a:moveTo>
                    <a:pt x="44450" y="1314221"/>
                  </a:moveTo>
                  <a:lnTo>
                    <a:pt x="31750" y="1314221"/>
                  </a:lnTo>
                  <a:lnTo>
                    <a:pt x="31750" y="1352321"/>
                  </a:lnTo>
                  <a:lnTo>
                    <a:pt x="44450" y="1352321"/>
                  </a:lnTo>
                  <a:lnTo>
                    <a:pt x="44450" y="1314221"/>
                  </a:lnTo>
                  <a:close/>
                </a:path>
                <a:path w="1562100" h="3326129">
                  <a:moveTo>
                    <a:pt x="44450" y="1263421"/>
                  </a:moveTo>
                  <a:lnTo>
                    <a:pt x="31750" y="1263421"/>
                  </a:lnTo>
                  <a:lnTo>
                    <a:pt x="31750" y="1301521"/>
                  </a:lnTo>
                  <a:lnTo>
                    <a:pt x="44450" y="1301521"/>
                  </a:lnTo>
                  <a:lnTo>
                    <a:pt x="44450" y="1263421"/>
                  </a:lnTo>
                  <a:close/>
                </a:path>
                <a:path w="1562100" h="3326129">
                  <a:moveTo>
                    <a:pt x="44450" y="1212621"/>
                  </a:moveTo>
                  <a:lnTo>
                    <a:pt x="31750" y="1212621"/>
                  </a:lnTo>
                  <a:lnTo>
                    <a:pt x="31750" y="1250721"/>
                  </a:lnTo>
                  <a:lnTo>
                    <a:pt x="44450" y="1250721"/>
                  </a:lnTo>
                  <a:lnTo>
                    <a:pt x="44450" y="1212621"/>
                  </a:lnTo>
                  <a:close/>
                </a:path>
                <a:path w="1562100" h="3326129">
                  <a:moveTo>
                    <a:pt x="44450" y="1161821"/>
                  </a:moveTo>
                  <a:lnTo>
                    <a:pt x="31750" y="1161821"/>
                  </a:lnTo>
                  <a:lnTo>
                    <a:pt x="31750" y="1199921"/>
                  </a:lnTo>
                  <a:lnTo>
                    <a:pt x="44450" y="1199921"/>
                  </a:lnTo>
                  <a:lnTo>
                    <a:pt x="44450" y="1161821"/>
                  </a:lnTo>
                  <a:close/>
                </a:path>
                <a:path w="1562100" h="3326129">
                  <a:moveTo>
                    <a:pt x="44450" y="1111021"/>
                  </a:moveTo>
                  <a:lnTo>
                    <a:pt x="31750" y="1111021"/>
                  </a:lnTo>
                  <a:lnTo>
                    <a:pt x="31750" y="1149121"/>
                  </a:lnTo>
                  <a:lnTo>
                    <a:pt x="44450" y="1149121"/>
                  </a:lnTo>
                  <a:lnTo>
                    <a:pt x="44450" y="1111021"/>
                  </a:lnTo>
                  <a:close/>
                </a:path>
                <a:path w="1562100" h="3326129">
                  <a:moveTo>
                    <a:pt x="44450" y="1060221"/>
                  </a:moveTo>
                  <a:lnTo>
                    <a:pt x="31750" y="1060221"/>
                  </a:lnTo>
                  <a:lnTo>
                    <a:pt x="31750" y="1098321"/>
                  </a:lnTo>
                  <a:lnTo>
                    <a:pt x="44450" y="1098321"/>
                  </a:lnTo>
                  <a:lnTo>
                    <a:pt x="44450" y="1060221"/>
                  </a:lnTo>
                  <a:close/>
                </a:path>
                <a:path w="1562100" h="3326129">
                  <a:moveTo>
                    <a:pt x="44450" y="1009421"/>
                  </a:moveTo>
                  <a:lnTo>
                    <a:pt x="31750" y="1009421"/>
                  </a:lnTo>
                  <a:lnTo>
                    <a:pt x="31750" y="1047521"/>
                  </a:lnTo>
                  <a:lnTo>
                    <a:pt x="44450" y="1047521"/>
                  </a:lnTo>
                  <a:lnTo>
                    <a:pt x="44450" y="1009421"/>
                  </a:lnTo>
                  <a:close/>
                </a:path>
                <a:path w="1562100" h="3326129">
                  <a:moveTo>
                    <a:pt x="44450" y="958621"/>
                  </a:moveTo>
                  <a:lnTo>
                    <a:pt x="31750" y="958621"/>
                  </a:lnTo>
                  <a:lnTo>
                    <a:pt x="31750" y="996721"/>
                  </a:lnTo>
                  <a:lnTo>
                    <a:pt x="44450" y="996721"/>
                  </a:lnTo>
                  <a:lnTo>
                    <a:pt x="44450" y="958621"/>
                  </a:lnTo>
                  <a:close/>
                </a:path>
                <a:path w="1562100" h="3326129">
                  <a:moveTo>
                    <a:pt x="44450" y="907821"/>
                  </a:moveTo>
                  <a:lnTo>
                    <a:pt x="31750" y="907821"/>
                  </a:lnTo>
                  <a:lnTo>
                    <a:pt x="31750" y="945921"/>
                  </a:lnTo>
                  <a:lnTo>
                    <a:pt x="44450" y="945921"/>
                  </a:lnTo>
                  <a:lnTo>
                    <a:pt x="44450" y="907821"/>
                  </a:lnTo>
                  <a:close/>
                </a:path>
                <a:path w="1562100" h="3326129">
                  <a:moveTo>
                    <a:pt x="44450" y="857021"/>
                  </a:moveTo>
                  <a:lnTo>
                    <a:pt x="31750" y="857021"/>
                  </a:lnTo>
                  <a:lnTo>
                    <a:pt x="31750" y="895121"/>
                  </a:lnTo>
                  <a:lnTo>
                    <a:pt x="44450" y="895121"/>
                  </a:lnTo>
                  <a:lnTo>
                    <a:pt x="44450" y="857021"/>
                  </a:lnTo>
                  <a:close/>
                </a:path>
                <a:path w="1562100" h="3326129">
                  <a:moveTo>
                    <a:pt x="44450" y="806221"/>
                  </a:moveTo>
                  <a:lnTo>
                    <a:pt x="31750" y="806221"/>
                  </a:lnTo>
                  <a:lnTo>
                    <a:pt x="31750" y="844321"/>
                  </a:lnTo>
                  <a:lnTo>
                    <a:pt x="44450" y="844321"/>
                  </a:lnTo>
                  <a:lnTo>
                    <a:pt x="44450" y="806221"/>
                  </a:lnTo>
                  <a:close/>
                </a:path>
                <a:path w="1562100" h="3326129">
                  <a:moveTo>
                    <a:pt x="44450" y="755421"/>
                  </a:moveTo>
                  <a:lnTo>
                    <a:pt x="31750" y="755421"/>
                  </a:lnTo>
                  <a:lnTo>
                    <a:pt x="31750" y="793521"/>
                  </a:lnTo>
                  <a:lnTo>
                    <a:pt x="44450" y="793521"/>
                  </a:lnTo>
                  <a:lnTo>
                    <a:pt x="44450" y="755421"/>
                  </a:lnTo>
                  <a:close/>
                </a:path>
                <a:path w="1562100" h="3326129">
                  <a:moveTo>
                    <a:pt x="44450" y="704621"/>
                  </a:moveTo>
                  <a:lnTo>
                    <a:pt x="31750" y="704621"/>
                  </a:lnTo>
                  <a:lnTo>
                    <a:pt x="31750" y="742721"/>
                  </a:lnTo>
                  <a:lnTo>
                    <a:pt x="44450" y="742721"/>
                  </a:lnTo>
                  <a:lnTo>
                    <a:pt x="44450" y="704621"/>
                  </a:lnTo>
                  <a:close/>
                </a:path>
                <a:path w="1562100" h="3326129">
                  <a:moveTo>
                    <a:pt x="44450" y="653821"/>
                  </a:moveTo>
                  <a:lnTo>
                    <a:pt x="31750" y="653821"/>
                  </a:lnTo>
                  <a:lnTo>
                    <a:pt x="31750" y="691921"/>
                  </a:lnTo>
                  <a:lnTo>
                    <a:pt x="44450" y="691921"/>
                  </a:lnTo>
                  <a:lnTo>
                    <a:pt x="44450" y="653821"/>
                  </a:lnTo>
                  <a:close/>
                </a:path>
                <a:path w="1562100" h="3326129">
                  <a:moveTo>
                    <a:pt x="44450" y="603021"/>
                  </a:moveTo>
                  <a:lnTo>
                    <a:pt x="31750" y="603021"/>
                  </a:lnTo>
                  <a:lnTo>
                    <a:pt x="31750" y="641121"/>
                  </a:lnTo>
                  <a:lnTo>
                    <a:pt x="44450" y="641121"/>
                  </a:lnTo>
                  <a:lnTo>
                    <a:pt x="44450" y="603021"/>
                  </a:lnTo>
                  <a:close/>
                </a:path>
                <a:path w="1562100" h="3326129">
                  <a:moveTo>
                    <a:pt x="44450" y="552221"/>
                  </a:moveTo>
                  <a:lnTo>
                    <a:pt x="31750" y="552221"/>
                  </a:lnTo>
                  <a:lnTo>
                    <a:pt x="31750" y="590321"/>
                  </a:lnTo>
                  <a:lnTo>
                    <a:pt x="44450" y="590321"/>
                  </a:lnTo>
                  <a:lnTo>
                    <a:pt x="44450" y="552221"/>
                  </a:lnTo>
                  <a:close/>
                </a:path>
                <a:path w="1562100" h="3326129">
                  <a:moveTo>
                    <a:pt x="44450" y="501421"/>
                  </a:moveTo>
                  <a:lnTo>
                    <a:pt x="31750" y="501421"/>
                  </a:lnTo>
                  <a:lnTo>
                    <a:pt x="31750" y="539521"/>
                  </a:lnTo>
                  <a:lnTo>
                    <a:pt x="44450" y="539521"/>
                  </a:lnTo>
                  <a:lnTo>
                    <a:pt x="44450" y="501421"/>
                  </a:lnTo>
                  <a:close/>
                </a:path>
                <a:path w="1562100" h="3326129">
                  <a:moveTo>
                    <a:pt x="44450" y="450621"/>
                  </a:moveTo>
                  <a:lnTo>
                    <a:pt x="31750" y="450621"/>
                  </a:lnTo>
                  <a:lnTo>
                    <a:pt x="31750" y="488721"/>
                  </a:lnTo>
                  <a:lnTo>
                    <a:pt x="44450" y="488721"/>
                  </a:lnTo>
                  <a:lnTo>
                    <a:pt x="44450" y="450621"/>
                  </a:lnTo>
                  <a:close/>
                </a:path>
                <a:path w="1562100" h="3326129">
                  <a:moveTo>
                    <a:pt x="44450" y="399821"/>
                  </a:moveTo>
                  <a:lnTo>
                    <a:pt x="31750" y="399821"/>
                  </a:lnTo>
                  <a:lnTo>
                    <a:pt x="31750" y="437921"/>
                  </a:lnTo>
                  <a:lnTo>
                    <a:pt x="44450" y="437921"/>
                  </a:lnTo>
                  <a:lnTo>
                    <a:pt x="44450" y="399821"/>
                  </a:lnTo>
                  <a:close/>
                </a:path>
                <a:path w="1562100" h="3326129">
                  <a:moveTo>
                    <a:pt x="44450" y="349021"/>
                  </a:moveTo>
                  <a:lnTo>
                    <a:pt x="31750" y="349021"/>
                  </a:lnTo>
                  <a:lnTo>
                    <a:pt x="31750" y="387121"/>
                  </a:lnTo>
                  <a:lnTo>
                    <a:pt x="44450" y="387121"/>
                  </a:lnTo>
                  <a:lnTo>
                    <a:pt x="44450" y="349021"/>
                  </a:lnTo>
                  <a:close/>
                </a:path>
                <a:path w="1562100" h="3326129">
                  <a:moveTo>
                    <a:pt x="44450" y="298221"/>
                  </a:moveTo>
                  <a:lnTo>
                    <a:pt x="31750" y="298221"/>
                  </a:lnTo>
                  <a:lnTo>
                    <a:pt x="31750" y="336321"/>
                  </a:lnTo>
                  <a:lnTo>
                    <a:pt x="44450" y="336321"/>
                  </a:lnTo>
                  <a:lnTo>
                    <a:pt x="44450" y="298221"/>
                  </a:lnTo>
                  <a:close/>
                </a:path>
                <a:path w="1562100" h="3326129">
                  <a:moveTo>
                    <a:pt x="44450" y="247421"/>
                  </a:moveTo>
                  <a:lnTo>
                    <a:pt x="31750" y="247421"/>
                  </a:lnTo>
                  <a:lnTo>
                    <a:pt x="31750" y="285521"/>
                  </a:lnTo>
                  <a:lnTo>
                    <a:pt x="44450" y="285521"/>
                  </a:lnTo>
                  <a:lnTo>
                    <a:pt x="44450" y="247421"/>
                  </a:lnTo>
                  <a:close/>
                </a:path>
                <a:path w="1562100" h="3326129">
                  <a:moveTo>
                    <a:pt x="44450" y="196621"/>
                  </a:moveTo>
                  <a:lnTo>
                    <a:pt x="31750" y="196621"/>
                  </a:lnTo>
                  <a:lnTo>
                    <a:pt x="31750" y="234721"/>
                  </a:lnTo>
                  <a:lnTo>
                    <a:pt x="44450" y="234721"/>
                  </a:lnTo>
                  <a:lnTo>
                    <a:pt x="44450" y="196621"/>
                  </a:lnTo>
                  <a:close/>
                </a:path>
                <a:path w="1562100" h="3326129">
                  <a:moveTo>
                    <a:pt x="44450" y="145821"/>
                  </a:moveTo>
                  <a:lnTo>
                    <a:pt x="31750" y="145821"/>
                  </a:lnTo>
                  <a:lnTo>
                    <a:pt x="31750" y="183921"/>
                  </a:lnTo>
                  <a:lnTo>
                    <a:pt x="44450" y="183921"/>
                  </a:lnTo>
                  <a:lnTo>
                    <a:pt x="44450" y="145821"/>
                  </a:lnTo>
                  <a:close/>
                </a:path>
                <a:path w="1562100" h="3326129">
                  <a:moveTo>
                    <a:pt x="44450" y="95021"/>
                  </a:moveTo>
                  <a:lnTo>
                    <a:pt x="31750" y="95021"/>
                  </a:lnTo>
                  <a:lnTo>
                    <a:pt x="31750" y="133121"/>
                  </a:lnTo>
                  <a:lnTo>
                    <a:pt x="44450" y="133121"/>
                  </a:lnTo>
                  <a:lnTo>
                    <a:pt x="44450" y="95021"/>
                  </a:lnTo>
                  <a:close/>
                </a:path>
                <a:path w="1562100" h="3326129">
                  <a:moveTo>
                    <a:pt x="76200" y="76200"/>
                  </a:moveTo>
                  <a:lnTo>
                    <a:pt x="69850" y="63500"/>
                  </a:lnTo>
                  <a:lnTo>
                    <a:pt x="38100" y="0"/>
                  </a:lnTo>
                  <a:lnTo>
                    <a:pt x="0" y="76200"/>
                  </a:lnTo>
                  <a:lnTo>
                    <a:pt x="31750" y="76200"/>
                  </a:lnTo>
                  <a:lnTo>
                    <a:pt x="31750" y="82321"/>
                  </a:lnTo>
                  <a:lnTo>
                    <a:pt x="44450" y="82321"/>
                  </a:lnTo>
                  <a:lnTo>
                    <a:pt x="44450" y="76200"/>
                  </a:lnTo>
                  <a:lnTo>
                    <a:pt x="76200" y="76200"/>
                  </a:lnTo>
                  <a:close/>
                </a:path>
                <a:path w="1562100" h="3326129">
                  <a:moveTo>
                    <a:pt x="83032" y="1656626"/>
                  </a:moveTo>
                  <a:lnTo>
                    <a:pt x="44932" y="1656626"/>
                  </a:lnTo>
                  <a:lnTo>
                    <a:pt x="44932" y="1669326"/>
                  </a:lnTo>
                  <a:lnTo>
                    <a:pt x="83032" y="1669326"/>
                  </a:lnTo>
                  <a:lnTo>
                    <a:pt x="83032" y="1656626"/>
                  </a:lnTo>
                  <a:close/>
                </a:path>
                <a:path w="1562100" h="3326129">
                  <a:moveTo>
                    <a:pt x="133832" y="1656626"/>
                  </a:moveTo>
                  <a:lnTo>
                    <a:pt x="95732" y="1656626"/>
                  </a:lnTo>
                  <a:lnTo>
                    <a:pt x="95732" y="1669326"/>
                  </a:lnTo>
                  <a:lnTo>
                    <a:pt x="133832" y="1669326"/>
                  </a:lnTo>
                  <a:lnTo>
                    <a:pt x="133832" y="1656626"/>
                  </a:lnTo>
                  <a:close/>
                </a:path>
                <a:path w="1562100" h="3326129">
                  <a:moveTo>
                    <a:pt x="184632" y="1656626"/>
                  </a:moveTo>
                  <a:lnTo>
                    <a:pt x="146532" y="1656626"/>
                  </a:lnTo>
                  <a:lnTo>
                    <a:pt x="146532" y="1669326"/>
                  </a:lnTo>
                  <a:lnTo>
                    <a:pt x="184632" y="1669326"/>
                  </a:lnTo>
                  <a:lnTo>
                    <a:pt x="184632" y="1656626"/>
                  </a:lnTo>
                  <a:close/>
                </a:path>
                <a:path w="1562100" h="3326129">
                  <a:moveTo>
                    <a:pt x="235432" y="1656626"/>
                  </a:moveTo>
                  <a:lnTo>
                    <a:pt x="197332" y="1656626"/>
                  </a:lnTo>
                  <a:lnTo>
                    <a:pt x="197332" y="1669326"/>
                  </a:lnTo>
                  <a:lnTo>
                    <a:pt x="235432" y="1669326"/>
                  </a:lnTo>
                  <a:lnTo>
                    <a:pt x="235432" y="1656626"/>
                  </a:lnTo>
                  <a:close/>
                </a:path>
                <a:path w="1562100" h="3326129">
                  <a:moveTo>
                    <a:pt x="286232" y="1656626"/>
                  </a:moveTo>
                  <a:lnTo>
                    <a:pt x="248132" y="1656626"/>
                  </a:lnTo>
                  <a:lnTo>
                    <a:pt x="248132" y="1669326"/>
                  </a:lnTo>
                  <a:lnTo>
                    <a:pt x="286232" y="1669326"/>
                  </a:lnTo>
                  <a:lnTo>
                    <a:pt x="286232" y="1656626"/>
                  </a:lnTo>
                  <a:close/>
                </a:path>
                <a:path w="1562100" h="3326129">
                  <a:moveTo>
                    <a:pt x="337032" y="1656626"/>
                  </a:moveTo>
                  <a:lnTo>
                    <a:pt x="298932" y="1656626"/>
                  </a:lnTo>
                  <a:lnTo>
                    <a:pt x="298932" y="1669326"/>
                  </a:lnTo>
                  <a:lnTo>
                    <a:pt x="337032" y="1669326"/>
                  </a:lnTo>
                  <a:lnTo>
                    <a:pt x="337032" y="1656626"/>
                  </a:lnTo>
                  <a:close/>
                </a:path>
                <a:path w="1562100" h="3326129">
                  <a:moveTo>
                    <a:pt x="387832" y="1656626"/>
                  </a:moveTo>
                  <a:lnTo>
                    <a:pt x="349732" y="1656626"/>
                  </a:lnTo>
                  <a:lnTo>
                    <a:pt x="349732" y="1669326"/>
                  </a:lnTo>
                  <a:lnTo>
                    <a:pt x="387832" y="1669326"/>
                  </a:lnTo>
                  <a:lnTo>
                    <a:pt x="387832" y="1656626"/>
                  </a:lnTo>
                  <a:close/>
                </a:path>
                <a:path w="1562100" h="3326129">
                  <a:moveTo>
                    <a:pt x="438632" y="1656626"/>
                  </a:moveTo>
                  <a:lnTo>
                    <a:pt x="400532" y="1656626"/>
                  </a:lnTo>
                  <a:lnTo>
                    <a:pt x="400532" y="1669326"/>
                  </a:lnTo>
                  <a:lnTo>
                    <a:pt x="438632" y="1669326"/>
                  </a:lnTo>
                  <a:lnTo>
                    <a:pt x="438632" y="1656626"/>
                  </a:lnTo>
                  <a:close/>
                </a:path>
                <a:path w="1562100" h="3326129">
                  <a:moveTo>
                    <a:pt x="489432" y="1656626"/>
                  </a:moveTo>
                  <a:lnTo>
                    <a:pt x="451332" y="1656626"/>
                  </a:lnTo>
                  <a:lnTo>
                    <a:pt x="451332" y="1669326"/>
                  </a:lnTo>
                  <a:lnTo>
                    <a:pt x="489432" y="1669326"/>
                  </a:lnTo>
                  <a:lnTo>
                    <a:pt x="489432" y="1656626"/>
                  </a:lnTo>
                  <a:close/>
                </a:path>
                <a:path w="1562100" h="3326129">
                  <a:moveTo>
                    <a:pt x="540232" y="1656626"/>
                  </a:moveTo>
                  <a:lnTo>
                    <a:pt x="502132" y="1656626"/>
                  </a:lnTo>
                  <a:lnTo>
                    <a:pt x="502132" y="1669326"/>
                  </a:lnTo>
                  <a:lnTo>
                    <a:pt x="540232" y="1669326"/>
                  </a:lnTo>
                  <a:lnTo>
                    <a:pt x="540232" y="1656626"/>
                  </a:lnTo>
                  <a:close/>
                </a:path>
                <a:path w="1562100" h="3326129">
                  <a:moveTo>
                    <a:pt x="560006" y="3287852"/>
                  </a:moveTo>
                  <a:lnTo>
                    <a:pt x="547306" y="3287852"/>
                  </a:lnTo>
                  <a:lnTo>
                    <a:pt x="547306" y="3325952"/>
                  </a:lnTo>
                  <a:lnTo>
                    <a:pt x="560006" y="3325952"/>
                  </a:lnTo>
                  <a:lnTo>
                    <a:pt x="560006" y="3287852"/>
                  </a:lnTo>
                  <a:close/>
                </a:path>
                <a:path w="1562100" h="3326129">
                  <a:moveTo>
                    <a:pt x="560006" y="3237052"/>
                  </a:moveTo>
                  <a:lnTo>
                    <a:pt x="547306" y="3237052"/>
                  </a:lnTo>
                  <a:lnTo>
                    <a:pt x="547306" y="3275152"/>
                  </a:lnTo>
                  <a:lnTo>
                    <a:pt x="560006" y="3275152"/>
                  </a:lnTo>
                  <a:lnTo>
                    <a:pt x="560006" y="3237052"/>
                  </a:lnTo>
                  <a:close/>
                </a:path>
                <a:path w="1562100" h="3326129">
                  <a:moveTo>
                    <a:pt x="560006" y="3186252"/>
                  </a:moveTo>
                  <a:lnTo>
                    <a:pt x="547306" y="3186252"/>
                  </a:lnTo>
                  <a:lnTo>
                    <a:pt x="547306" y="3224352"/>
                  </a:lnTo>
                  <a:lnTo>
                    <a:pt x="560006" y="3224352"/>
                  </a:lnTo>
                  <a:lnTo>
                    <a:pt x="560006" y="3186252"/>
                  </a:lnTo>
                  <a:close/>
                </a:path>
                <a:path w="1562100" h="3326129">
                  <a:moveTo>
                    <a:pt x="560006" y="3135452"/>
                  </a:moveTo>
                  <a:lnTo>
                    <a:pt x="547306" y="3135452"/>
                  </a:lnTo>
                  <a:lnTo>
                    <a:pt x="547306" y="3173552"/>
                  </a:lnTo>
                  <a:lnTo>
                    <a:pt x="560006" y="3173552"/>
                  </a:lnTo>
                  <a:lnTo>
                    <a:pt x="560006" y="3135452"/>
                  </a:lnTo>
                  <a:close/>
                </a:path>
                <a:path w="1562100" h="3326129">
                  <a:moveTo>
                    <a:pt x="560006" y="3084652"/>
                  </a:moveTo>
                  <a:lnTo>
                    <a:pt x="547306" y="3084652"/>
                  </a:lnTo>
                  <a:lnTo>
                    <a:pt x="547306" y="3122752"/>
                  </a:lnTo>
                  <a:lnTo>
                    <a:pt x="560006" y="3122752"/>
                  </a:lnTo>
                  <a:lnTo>
                    <a:pt x="560006" y="3084652"/>
                  </a:lnTo>
                  <a:close/>
                </a:path>
                <a:path w="1562100" h="3326129">
                  <a:moveTo>
                    <a:pt x="560006" y="3033852"/>
                  </a:moveTo>
                  <a:lnTo>
                    <a:pt x="547306" y="3033852"/>
                  </a:lnTo>
                  <a:lnTo>
                    <a:pt x="547306" y="3071952"/>
                  </a:lnTo>
                  <a:lnTo>
                    <a:pt x="560006" y="3071952"/>
                  </a:lnTo>
                  <a:lnTo>
                    <a:pt x="560006" y="3033852"/>
                  </a:lnTo>
                  <a:close/>
                </a:path>
                <a:path w="1562100" h="3326129">
                  <a:moveTo>
                    <a:pt x="560006" y="2983052"/>
                  </a:moveTo>
                  <a:lnTo>
                    <a:pt x="547306" y="2983052"/>
                  </a:lnTo>
                  <a:lnTo>
                    <a:pt x="547306" y="3021152"/>
                  </a:lnTo>
                  <a:lnTo>
                    <a:pt x="560006" y="3021152"/>
                  </a:lnTo>
                  <a:lnTo>
                    <a:pt x="560006" y="2983052"/>
                  </a:lnTo>
                  <a:close/>
                </a:path>
                <a:path w="1562100" h="3326129">
                  <a:moveTo>
                    <a:pt x="560006" y="2932252"/>
                  </a:moveTo>
                  <a:lnTo>
                    <a:pt x="547306" y="2932252"/>
                  </a:lnTo>
                  <a:lnTo>
                    <a:pt x="547306" y="2970352"/>
                  </a:lnTo>
                  <a:lnTo>
                    <a:pt x="560006" y="2970352"/>
                  </a:lnTo>
                  <a:lnTo>
                    <a:pt x="560006" y="2932252"/>
                  </a:lnTo>
                  <a:close/>
                </a:path>
                <a:path w="1562100" h="3326129">
                  <a:moveTo>
                    <a:pt x="560006" y="2881452"/>
                  </a:moveTo>
                  <a:lnTo>
                    <a:pt x="547306" y="2881452"/>
                  </a:lnTo>
                  <a:lnTo>
                    <a:pt x="547306" y="2919552"/>
                  </a:lnTo>
                  <a:lnTo>
                    <a:pt x="560006" y="2919552"/>
                  </a:lnTo>
                  <a:lnTo>
                    <a:pt x="560006" y="2881452"/>
                  </a:lnTo>
                  <a:close/>
                </a:path>
                <a:path w="1562100" h="3326129">
                  <a:moveTo>
                    <a:pt x="560006" y="2830652"/>
                  </a:moveTo>
                  <a:lnTo>
                    <a:pt x="547306" y="2830652"/>
                  </a:lnTo>
                  <a:lnTo>
                    <a:pt x="547306" y="2868752"/>
                  </a:lnTo>
                  <a:lnTo>
                    <a:pt x="560006" y="2868752"/>
                  </a:lnTo>
                  <a:lnTo>
                    <a:pt x="560006" y="2830652"/>
                  </a:lnTo>
                  <a:close/>
                </a:path>
                <a:path w="1562100" h="3326129">
                  <a:moveTo>
                    <a:pt x="560006" y="2779852"/>
                  </a:moveTo>
                  <a:lnTo>
                    <a:pt x="547306" y="2779852"/>
                  </a:lnTo>
                  <a:lnTo>
                    <a:pt x="547306" y="2817952"/>
                  </a:lnTo>
                  <a:lnTo>
                    <a:pt x="560006" y="2817952"/>
                  </a:lnTo>
                  <a:lnTo>
                    <a:pt x="560006" y="2779852"/>
                  </a:lnTo>
                  <a:close/>
                </a:path>
                <a:path w="1562100" h="3326129">
                  <a:moveTo>
                    <a:pt x="560006" y="2729052"/>
                  </a:moveTo>
                  <a:lnTo>
                    <a:pt x="547306" y="2729052"/>
                  </a:lnTo>
                  <a:lnTo>
                    <a:pt x="547306" y="2767152"/>
                  </a:lnTo>
                  <a:lnTo>
                    <a:pt x="560006" y="2767152"/>
                  </a:lnTo>
                  <a:lnTo>
                    <a:pt x="560006" y="2729052"/>
                  </a:lnTo>
                  <a:close/>
                </a:path>
                <a:path w="1562100" h="3326129">
                  <a:moveTo>
                    <a:pt x="560006" y="2678252"/>
                  </a:moveTo>
                  <a:lnTo>
                    <a:pt x="547306" y="2678252"/>
                  </a:lnTo>
                  <a:lnTo>
                    <a:pt x="547306" y="2716352"/>
                  </a:lnTo>
                  <a:lnTo>
                    <a:pt x="560006" y="2716352"/>
                  </a:lnTo>
                  <a:lnTo>
                    <a:pt x="560006" y="2678252"/>
                  </a:lnTo>
                  <a:close/>
                </a:path>
                <a:path w="1562100" h="3326129">
                  <a:moveTo>
                    <a:pt x="560006" y="2627452"/>
                  </a:moveTo>
                  <a:lnTo>
                    <a:pt x="547306" y="2627452"/>
                  </a:lnTo>
                  <a:lnTo>
                    <a:pt x="547306" y="2665552"/>
                  </a:lnTo>
                  <a:lnTo>
                    <a:pt x="560006" y="2665552"/>
                  </a:lnTo>
                  <a:lnTo>
                    <a:pt x="560006" y="2627452"/>
                  </a:lnTo>
                  <a:close/>
                </a:path>
                <a:path w="1562100" h="3326129">
                  <a:moveTo>
                    <a:pt x="560006" y="2576652"/>
                  </a:moveTo>
                  <a:lnTo>
                    <a:pt x="547306" y="2576652"/>
                  </a:lnTo>
                  <a:lnTo>
                    <a:pt x="547306" y="2614752"/>
                  </a:lnTo>
                  <a:lnTo>
                    <a:pt x="560006" y="2614752"/>
                  </a:lnTo>
                  <a:lnTo>
                    <a:pt x="560006" y="2576652"/>
                  </a:lnTo>
                  <a:close/>
                </a:path>
                <a:path w="1562100" h="3326129">
                  <a:moveTo>
                    <a:pt x="560006" y="2525852"/>
                  </a:moveTo>
                  <a:lnTo>
                    <a:pt x="547306" y="2525852"/>
                  </a:lnTo>
                  <a:lnTo>
                    <a:pt x="547306" y="2563952"/>
                  </a:lnTo>
                  <a:lnTo>
                    <a:pt x="560006" y="2563952"/>
                  </a:lnTo>
                  <a:lnTo>
                    <a:pt x="560006" y="2525852"/>
                  </a:lnTo>
                  <a:close/>
                </a:path>
                <a:path w="1562100" h="3326129">
                  <a:moveTo>
                    <a:pt x="560006" y="2475052"/>
                  </a:moveTo>
                  <a:lnTo>
                    <a:pt x="547306" y="2475052"/>
                  </a:lnTo>
                  <a:lnTo>
                    <a:pt x="547306" y="2513152"/>
                  </a:lnTo>
                  <a:lnTo>
                    <a:pt x="560006" y="2513152"/>
                  </a:lnTo>
                  <a:lnTo>
                    <a:pt x="560006" y="2475052"/>
                  </a:lnTo>
                  <a:close/>
                </a:path>
                <a:path w="1562100" h="3326129">
                  <a:moveTo>
                    <a:pt x="560006" y="2424252"/>
                  </a:moveTo>
                  <a:lnTo>
                    <a:pt x="547306" y="2424252"/>
                  </a:lnTo>
                  <a:lnTo>
                    <a:pt x="547306" y="2462352"/>
                  </a:lnTo>
                  <a:lnTo>
                    <a:pt x="560006" y="2462352"/>
                  </a:lnTo>
                  <a:lnTo>
                    <a:pt x="560006" y="2424252"/>
                  </a:lnTo>
                  <a:close/>
                </a:path>
                <a:path w="1562100" h="3326129">
                  <a:moveTo>
                    <a:pt x="560006" y="2373452"/>
                  </a:moveTo>
                  <a:lnTo>
                    <a:pt x="547306" y="2373452"/>
                  </a:lnTo>
                  <a:lnTo>
                    <a:pt x="547306" y="2411552"/>
                  </a:lnTo>
                  <a:lnTo>
                    <a:pt x="560006" y="2411552"/>
                  </a:lnTo>
                  <a:lnTo>
                    <a:pt x="560006" y="2373452"/>
                  </a:lnTo>
                  <a:close/>
                </a:path>
                <a:path w="1562100" h="3326129">
                  <a:moveTo>
                    <a:pt x="560006" y="2322652"/>
                  </a:moveTo>
                  <a:lnTo>
                    <a:pt x="547306" y="2322652"/>
                  </a:lnTo>
                  <a:lnTo>
                    <a:pt x="547306" y="2360752"/>
                  </a:lnTo>
                  <a:lnTo>
                    <a:pt x="560006" y="2360752"/>
                  </a:lnTo>
                  <a:lnTo>
                    <a:pt x="560006" y="2322652"/>
                  </a:lnTo>
                  <a:close/>
                </a:path>
                <a:path w="1562100" h="3326129">
                  <a:moveTo>
                    <a:pt x="560006" y="2271852"/>
                  </a:moveTo>
                  <a:lnTo>
                    <a:pt x="547306" y="2271852"/>
                  </a:lnTo>
                  <a:lnTo>
                    <a:pt x="547306" y="2309952"/>
                  </a:lnTo>
                  <a:lnTo>
                    <a:pt x="560006" y="2309952"/>
                  </a:lnTo>
                  <a:lnTo>
                    <a:pt x="560006" y="2271852"/>
                  </a:lnTo>
                  <a:close/>
                </a:path>
                <a:path w="1562100" h="3326129">
                  <a:moveTo>
                    <a:pt x="560006" y="2221052"/>
                  </a:moveTo>
                  <a:lnTo>
                    <a:pt x="547306" y="2221052"/>
                  </a:lnTo>
                  <a:lnTo>
                    <a:pt x="547306" y="2259152"/>
                  </a:lnTo>
                  <a:lnTo>
                    <a:pt x="560006" y="2259152"/>
                  </a:lnTo>
                  <a:lnTo>
                    <a:pt x="560006" y="2221052"/>
                  </a:lnTo>
                  <a:close/>
                </a:path>
                <a:path w="1562100" h="3326129">
                  <a:moveTo>
                    <a:pt x="560006" y="2170252"/>
                  </a:moveTo>
                  <a:lnTo>
                    <a:pt x="547306" y="2170252"/>
                  </a:lnTo>
                  <a:lnTo>
                    <a:pt x="547306" y="2208352"/>
                  </a:lnTo>
                  <a:lnTo>
                    <a:pt x="560006" y="2208352"/>
                  </a:lnTo>
                  <a:lnTo>
                    <a:pt x="560006" y="2170252"/>
                  </a:lnTo>
                  <a:close/>
                </a:path>
                <a:path w="1562100" h="3326129">
                  <a:moveTo>
                    <a:pt x="560006" y="2119452"/>
                  </a:moveTo>
                  <a:lnTo>
                    <a:pt x="547306" y="2119452"/>
                  </a:lnTo>
                  <a:lnTo>
                    <a:pt x="547306" y="2157552"/>
                  </a:lnTo>
                  <a:lnTo>
                    <a:pt x="560006" y="2157552"/>
                  </a:lnTo>
                  <a:lnTo>
                    <a:pt x="560006" y="2119452"/>
                  </a:lnTo>
                  <a:close/>
                </a:path>
                <a:path w="1562100" h="3326129">
                  <a:moveTo>
                    <a:pt x="560006" y="2068652"/>
                  </a:moveTo>
                  <a:lnTo>
                    <a:pt x="547306" y="2068652"/>
                  </a:lnTo>
                  <a:lnTo>
                    <a:pt x="547306" y="2106752"/>
                  </a:lnTo>
                  <a:lnTo>
                    <a:pt x="560006" y="2106752"/>
                  </a:lnTo>
                  <a:lnTo>
                    <a:pt x="560006" y="2068652"/>
                  </a:lnTo>
                  <a:close/>
                </a:path>
                <a:path w="1562100" h="3326129">
                  <a:moveTo>
                    <a:pt x="560006" y="2017852"/>
                  </a:moveTo>
                  <a:lnTo>
                    <a:pt x="547306" y="2017852"/>
                  </a:lnTo>
                  <a:lnTo>
                    <a:pt x="547306" y="2055952"/>
                  </a:lnTo>
                  <a:lnTo>
                    <a:pt x="560006" y="2055952"/>
                  </a:lnTo>
                  <a:lnTo>
                    <a:pt x="560006" y="2017852"/>
                  </a:lnTo>
                  <a:close/>
                </a:path>
                <a:path w="1562100" h="3326129">
                  <a:moveTo>
                    <a:pt x="560006" y="1967052"/>
                  </a:moveTo>
                  <a:lnTo>
                    <a:pt x="547306" y="1967052"/>
                  </a:lnTo>
                  <a:lnTo>
                    <a:pt x="547306" y="2005152"/>
                  </a:lnTo>
                  <a:lnTo>
                    <a:pt x="560006" y="2005152"/>
                  </a:lnTo>
                  <a:lnTo>
                    <a:pt x="560006" y="1967052"/>
                  </a:lnTo>
                  <a:close/>
                </a:path>
                <a:path w="1562100" h="3326129">
                  <a:moveTo>
                    <a:pt x="560006" y="1916252"/>
                  </a:moveTo>
                  <a:lnTo>
                    <a:pt x="547306" y="1916252"/>
                  </a:lnTo>
                  <a:lnTo>
                    <a:pt x="547306" y="1954352"/>
                  </a:lnTo>
                  <a:lnTo>
                    <a:pt x="560006" y="1954352"/>
                  </a:lnTo>
                  <a:lnTo>
                    <a:pt x="560006" y="1916252"/>
                  </a:lnTo>
                  <a:close/>
                </a:path>
                <a:path w="1562100" h="3326129">
                  <a:moveTo>
                    <a:pt x="560006" y="1865452"/>
                  </a:moveTo>
                  <a:lnTo>
                    <a:pt x="547306" y="1865452"/>
                  </a:lnTo>
                  <a:lnTo>
                    <a:pt x="547306" y="1903552"/>
                  </a:lnTo>
                  <a:lnTo>
                    <a:pt x="560006" y="1903552"/>
                  </a:lnTo>
                  <a:lnTo>
                    <a:pt x="560006" y="1865452"/>
                  </a:lnTo>
                  <a:close/>
                </a:path>
                <a:path w="1562100" h="3326129">
                  <a:moveTo>
                    <a:pt x="560006" y="1814652"/>
                  </a:moveTo>
                  <a:lnTo>
                    <a:pt x="547306" y="1814652"/>
                  </a:lnTo>
                  <a:lnTo>
                    <a:pt x="547306" y="1852752"/>
                  </a:lnTo>
                  <a:lnTo>
                    <a:pt x="560006" y="1852752"/>
                  </a:lnTo>
                  <a:lnTo>
                    <a:pt x="560006" y="1814652"/>
                  </a:lnTo>
                  <a:close/>
                </a:path>
                <a:path w="1562100" h="3326129">
                  <a:moveTo>
                    <a:pt x="560006" y="1763852"/>
                  </a:moveTo>
                  <a:lnTo>
                    <a:pt x="547306" y="1763852"/>
                  </a:lnTo>
                  <a:lnTo>
                    <a:pt x="547306" y="1801952"/>
                  </a:lnTo>
                  <a:lnTo>
                    <a:pt x="560006" y="1801952"/>
                  </a:lnTo>
                  <a:lnTo>
                    <a:pt x="560006" y="1763852"/>
                  </a:lnTo>
                  <a:close/>
                </a:path>
                <a:path w="1562100" h="3326129">
                  <a:moveTo>
                    <a:pt x="560006" y="1713052"/>
                  </a:moveTo>
                  <a:lnTo>
                    <a:pt x="547306" y="1713052"/>
                  </a:lnTo>
                  <a:lnTo>
                    <a:pt x="547306" y="1751152"/>
                  </a:lnTo>
                  <a:lnTo>
                    <a:pt x="560006" y="1751152"/>
                  </a:lnTo>
                  <a:lnTo>
                    <a:pt x="560006" y="1713052"/>
                  </a:lnTo>
                  <a:close/>
                </a:path>
                <a:path w="1562100" h="3326129">
                  <a:moveTo>
                    <a:pt x="560006" y="1659470"/>
                  </a:moveTo>
                  <a:lnTo>
                    <a:pt x="557174" y="1656626"/>
                  </a:lnTo>
                  <a:lnTo>
                    <a:pt x="552932" y="1656626"/>
                  </a:lnTo>
                  <a:lnTo>
                    <a:pt x="552932" y="1668602"/>
                  </a:lnTo>
                  <a:lnTo>
                    <a:pt x="547306" y="1662976"/>
                  </a:lnTo>
                  <a:lnTo>
                    <a:pt x="547306" y="1700352"/>
                  </a:lnTo>
                  <a:lnTo>
                    <a:pt x="560006" y="1700352"/>
                  </a:lnTo>
                  <a:lnTo>
                    <a:pt x="560006" y="1669326"/>
                  </a:lnTo>
                  <a:lnTo>
                    <a:pt x="560006" y="1659470"/>
                  </a:lnTo>
                  <a:close/>
                </a:path>
                <a:path w="1562100" h="3326129">
                  <a:moveTo>
                    <a:pt x="843648" y="3287852"/>
                  </a:moveTo>
                  <a:lnTo>
                    <a:pt x="830948" y="3287852"/>
                  </a:lnTo>
                  <a:lnTo>
                    <a:pt x="830948" y="3325952"/>
                  </a:lnTo>
                  <a:lnTo>
                    <a:pt x="843648" y="3325952"/>
                  </a:lnTo>
                  <a:lnTo>
                    <a:pt x="843648" y="3287852"/>
                  </a:lnTo>
                  <a:close/>
                </a:path>
                <a:path w="1562100" h="3326129">
                  <a:moveTo>
                    <a:pt x="843648" y="3237052"/>
                  </a:moveTo>
                  <a:lnTo>
                    <a:pt x="830948" y="3237052"/>
                  </a:lnTo>
                  <a:lnTo>
                    <a:pt x="830948" y="3275152"/>
                  </a:lnTo>
                  <a:lnTo>
                    <a:pt x="843648" y="3275152"/>
                  </a:lnTo>
                  <a:lnTo>
                    <a:pt x="843648" y="3237052"/>
                  </a:lnTo>
                  <a:close/>
                </a:path>
                <a:path w="1562100" h="3326129">
                  <a:moveTo>
                    <a:pt x="843648" y="3186252"/>
                  </a:moveTo>
                  <a:lnTo>
                    <a:pt x="830948" y="3186252"/>
                  </a:lnTo>
                  <a:lnTo>
                    <a:pt x="830948" y="3224352"/>
                  </a:lnTo>
                  <a:lnTo>
                    <a:pt x="843648" y="3224352"/>
                  </a:lnTo>
                  <a:lnTo>
                    <a:pt x="843648" y="3186252"/>
                  </a:lnTo>
                  <a:close/>
                </a:path>
                <a:path w="1562100" h="3326129">
                  <a:moveTo>
                    <a:pt x="843648" y="3135452"/>
                  </a:moveTo>
                  <a:lnTo>
                    <a:pt x="830948" y="3135452"/>
                  </a:lnTo>
                  <a:lnTo>
                    <a:pt x="830948" y="3173552"/>
                  </a:lnTo>
                  <a:lnTo>
                    <a:pt x="843648" y="3173552"/>
                  </a:lnTo>
                  <a:lnTo>
                    <a:pt x="843648" y="3135452"/>
                  </a:lnTo>
                  <a:close/>
                </a:path>
                <a:path w="1562100" h="3326129">
                  <a:moveTo>
                    <a:pt x="843648" y="3084652"/>
                  </a:moveTo>
                  <a:lnTo>
                    <a:pt x="830948" y="3084652"/>
                  </a:lnTo>
                  <a:lnTo>
                    <a:pt x="830948" y="3122752"/>
                  </a:lnTo>
                  <a:lnTo>
                    <a:pt x="843648" y="3122752"/>
                  </a:lnTo>
                  <a:lnTo>
                    <a:pt x="843648" y="3084652"/>
                  </a:lnTo>
                  <a:close/>
                </a:path>
                <a:path w="1562100" h="3326129">
                  <a:moveTo>
                    <a:pt x="843648" y="3033852"/>
                  </a:moveTo>
                  <a:lnTo>
                    <a:pt x="830948" y="3033852"/>
                  </a:lnTo>
                  <a:lnTo>
                    <a:pt x="830948" y="3071952"/>
                  </a:lnTo>
                  <a:lnTo>
                    <a:pt x="843648" y="3071952"/>
                  </a:lnTo>
                  <a:lnTo>
                    <a:pt x="843648" y="3033852"/>
                  </a:lnTo>
                  <a:close/>
                </a:path>
                <a:path w="1562100" h="3326129">
                  <a:moveTo>
                    <a:pt x="843648" y="2983052"/>
                  </a:moveTo>
                  <a:lnTo>
                    <a:pt x="830948" y="2983052"/>
                  </a:lnTo>
                  <a:lnTo>
                    <a:pt x="830948" y="3021152"/>
                  </a:lnTo>
                  <a:lnTo>
                    <a:pt x="843648" y="3021152"/>
                  </a:lnTo>
                  <a:lnTo>
                    <a:pt x="843648" y="2983052"/>
                  </a:lnTo>
                  <a:close/>
                </a:path>
                <a:path w="1562100" h="3326129">
                  <a:moveTo>
                    <a:pt x="843648" y="2932252"/>
                  </a:moveTo>
                  <a:lnTo>
                    <a:pt x="830948" y="2932252"/>
                  </a:lnTo>
                  <a:lnTo>
                    <a:pt x="830948" y="2970352"/>
                  </a:lnTo>
                  <a:lnTo>
                    <a:pt x="843648" y="2970352"/>
                  </a:lnTo>
                  <a:lnTo>
                    <a:pt x="843648" y="2932252"/>
                  </a:lnTo>
                  <a:close/>
                </a:path>
                <a:path w="1562100" h="3326129">
                  <a:moveTo>
                    <a:pt x="843648" y="2881452"/>
                  </a:moveTo>
                  <a:lnTo>
                    <a:pt x="830948" y="2881452"/>
                  </a:lnTo>
                  <a:lnTo>
                    <a:pt x="830948" y="2919552"/>
                  </a:lnTo>
                  <a:lnTo>
                    <a:pt x="843648" y="2919552"/>
                  </a:lnTo>
                  <a:lnTo>
                    <a:pt x="843648" y="2881452"/>
                  </a:lnTo>
                  <a:close/>
                </a:path>
                <a:path w="1562100" h="3326129">
                  <a:moveTo>
                    <a:pt x="843648" y="2830652"/>
                  </a:moveTo>
                  <a:lnTo>
                    <a:pt x="830948" y="2830652"/>
                  </a:lnTo>
                  <a:lnTo>
                    <a:pt x="830948" y="2868752"/>
                  </a:lnTo>
                  <a:lnTo>
                    <a:pt x="843648" y="2868752"/>
                  </a:lnTo>
                  <a:lnTo>
                    <a:pt x="843648" y="2830652"/>
                  </a:lnTo>
                  <a:close/>
                </a:path>
                <a:path w="1562100" h="3326129">
                  <a:moveTo>
                    <a:pt x="843648" y="2779852"/>
                  </a:moveTo>
                  <a:lnTo>
                    <a:pt x="830948" y="2779852"/>
                  </a:lnTo>
                  <a:lnTo>
                    <a:pt x="830948" y="2817952"/>
                  </a:lnTo>
                  <a:lnTo>
                    <a:pt x="843648" y="2817952"/>
                  </a:lnTo>
                  <a:lnTo>
                    <a:pt x="843648" y="2779852"/>
                  </a:lnTo>
                  <a:close/>
                </a:path>
                <a:path w="1562100" h="3326129">
                  <a:moveTo>
                    <a:pt x="843648" y="2729052"/>
                  </a:moveTo>
                  <a:lnTo>
                    <a:pt x="830948" y="2729052"/>
                  </a:lnTo>
                  <a:lnTo>
                    <a:pt x="830948" y="2767152"/>
                  </a:lnTo>
                  <a:lnTo>
                    <a:pt x="843648" y="2767152"/>
                  </a:lnTo>
                  <a:lnTo>
                    <a:pt x="843648" y="2729052"/>
                  </a:lnTo>
                  <a:close/>
                </a:path>
                <a:path w="1562100" h="3326129">
                  <a:moveTo>
                    <a:pt x="843648" y="2678252"/>
                  </a:moveTo>
                  <a:lnTo>
                    <a:pt x="830948" y="2678252"/>
                  </a:lnTo>
                  <a:lnTo>
                    <a:pt x="830948" y="2716352"/>
                  </a:lnTo>
                  <a:lnTo>
                    <a:pt x="843648" y="2716352"/>
                  </a:lnTo>
                  <a:lnTo>
                    <a:pt x="843648" y="2678252"/>
                  </a:lnTo>
                  <a:close/>
                </a:path>
                <a:path w="1562100" h="3326129">
                  <a:moveTo>
                    <a:pt x="843648" y="2627452"/>
                  </a:moveTo>
                  <a:lnTo>
                    <a:pt x="830948" y="2627452"/>
                  </a:lnTo>
                  <a:lnTo>
                    <a:pt x="830948" y="2665552"/>
                  </a:lnTo>
                  <a:lnTo>
                    <a:pt x="843648" y="2665552"/>
                  </a:lnTo>
                  <a:lnTo>
                    <a:pt x="843648" y="2627452"/>
                  </a:lnTo>
                  <a:close/>
                </a:path>
                <a:path w="1562100" h="3326129">
                  <a:moveTo>
                    <a:pt x="843648" y="2576652"/>
                  </a:moveTo>
                  <a:lnTo>
                    <a:pt x="830948" y="2576652"/>
                  </a:lnTo>
                  <a:lnTo>
                    <a:pt x="830948" y="2614752"/>
                  </a:lnTo>
                  <a:lnTo>
                    <a:pt x="843648" y="2614752"/>
                  </a:lnTo>
                  <a:lnTo>
                    <a:pt x="843648" y="2576652"/>
                  </a:lnTo>
                  <a:close/>
                </a:path>
                <a:path w="1562100" h="3326129">
                  <a:moveTo>
                    <a:pt x="843648" y="2525852"/>
                  </a:moveTo>
                  <a:lnTo>
                    <a:pt x="830948" y="2525852"/>
                  </a:lnTo>
                  <a:lnTo>
                    <a:pt x="830948" y="2563952"/>
                  </a:lnTo>
                  <a:lnTo>
                    <a:pt x="843648" y="2563952"/>
                  </a:lnTo>
                  <a:lnTo>
                    <a:pt x="843648" y="2525852"/>
                  </a:lnTo>
                  <a:close/>
                </a:path>
                <a:path w="1562100" h="3326129">
                  <a:moveTo>
                    <a:pt x="843648" y="2475052"/>
                  </a:moveTo>
                  <a:lnTo>
                    <a:pt x="830948" y="2475052"/>
                  </a:lnTo>
                  <a:lnTo>
                    <a:pt x="830948" y="2513152"/>
                  </a:lnTo>
                  <a:lnTo>
                    <a:pt x="843648" y="2513152"/>
                  </a:lnTo>
                  <a:lnTo>
                    <a:pt x="843648" y="2475052"/>
                  </a:lnTo>
                  <a:close/>
                </a:path>
                <a:path w="1562100" h="3326129">
                  <a:moveTo>
                    <a:pt x="843648" y="2424252"/>
                  </a:moveTo>
                  <a:lnTo>
                    <a:pt x="830948" y="2424252"/>
                  </a:lnTo>
                  <a:lnTo>
                    <a:pt x="830948" y="2462352"/>
                  </a:lnTo>
                  <a:lnTo>
                    <a:pt x="843648" y="2462352"/>
                  </a:lnTo>
                  <a:lnTo>
                    <a:pt x="843648" y="2424252"/>
                  </a:lnTo>
                  <a:close/>
                </a:path>
                <a:path w="1562100" h="3326129">
                  <a:moveTo>
                    <a:pt x="843648" y="2373452"/>
                  </a:moveTo>
                  <a:lnTo>
                    <a:pt x="830948" y="2373452"/>
                  </a:lnTo>
                  <a:lnTo>
                    <a:pt x="830948" y="2411552"/>
                  </a:lnTo>
                  <a:lnTo>
                    <a:pt x="843648" y="2411552"/>
                  </a:lnTo>
                  <a:lnTo>
                    <a:pt x="843648" y="2373452"/>
                  </a:lnTo>
                  <a:close/>
                </a:path>
                <a:path w="1562100" h="3326129">
                  <a:moveTo>
                    <a:pt x="843648" y="2322652"/>
                  </a:moveTo>
                  <a:lnTo>
                    <a:pt x="830948" y="2322652"/>
                  </a:lnTo>
                  <a:lnTo>
                    <a:pt x="830948" y="2360752"/>
                  </a:lnTo>
                  <a:lnTo>
                    <a:pt x="843648" y="2360752"/>
                  </a:lnTo>
                  <a:lnTo>
                    <a:pt x="843648" y="2322652"/>
                  </a:lnTo>
                  <a:close/>
                </a:path>
                <a:path w="1562100" h="3326129">
                  <a:moveTo>
                    <a:pt x="843648" y="2271852"/>
                  </a:moveTo>
                  <a:lnTo>
                    <a:pt x="830948" y="2271852"/>
                  </a:lnTo>
                  <a:lnTo>
                    <a:pt x="830948" y="2309952"/>
                  </a:lnTo>
                  <a:lnTo>
                    <a:pt x="843648" y="2309952"/>
                  </a:lnTo>
                  <a:lnTo>
                    <a:pt x="843648" y="2271852"/>
                  </a:lnTo>
                  <a:close/>
                </a:path>
                <a:path w="1562100" h="3326129">
                  <a:moveTo>
                    <a:pt x="843648" y="2221052"/>
                  </a:moveTo>
                  <a:lnTo>
                    <a:pt x="830948" y="2221052"/>
                  </a:lnTo>
                  <a:lnTo>
                    <a:pt x="830948" y="2259152"/>
                  </a:lnTo>
                  <a:lnTo>
                    <a:pt x="843648" y="2259152"/>
                  </a:lnTo>
                  <a:lnTo>
                    <a:pt x="843648" y="2221052"/>
                  </a:lnTo>
                  <a:close/>
                </a:path>
                <a:path w="1562100" h="3326129">
                  <a:moveTo>
                    <a:pt x="843648" y="2170252"/>
                  </a:moveTo>
                  <a:lnTo>
                    <a:pt x="830948" y="2170252"/>
                  </a:lnTo>
                  <a:lnTo>
                    <a:pt x="830948" y="2208352"/>
                  </a:lnTo>
                  <a:lnTo>
                    <a:pt x="843648" y="2208352"/>
                  </a:lnTo>
                  <a:lnTo>
                    <a:pt x="843648" y="2170252"/>
                  </a:lnTo>
                  <a:close/>
                </a:path>
                <a:path w="1562100" h="3326129">
                  <a:moveTo>
                    <a:pt x="843648" y="2119452"/>
                  </a:moveTo>
                  <a:lnTo>
                    <a:pt x="830948" y="2119452"/>
                  </a:lnTo>
                  <a:lnTo>
                    <a:pt x="830948" y="2157552"/>
                  </a:lnTo>
                  <a:lnTo>
                    <a:pt x="843648" y="2157552"/>
                  </a:lnTo>
                  <a:lnTo>
                    <a:pt x="843648" y="2119452"/>
                  </a:lnTo>
                  <a:close/>
                </a:path>
                <a:path w="1562100" h="3326129">
                  <a:moveTo>
                    <a:pt x="843648" y="2068652"/>
                  </a:moveTo>
                  <a:lnTo>
                    <a:pt x="830948" y="2068652"/>
                  </a:lnTo>
                  <a:lnTo>
                    <a:pt x="830948" y="2106752"/>
                  </a:lnTo>
                  <a:lnTo>
                    <a:pt x="843648" y="2106752"/>
                  </a:lnTo>
                  <a:lnTo>
                    <a:pt x="843648" y="2068652"/>
                  </a:lnTo>
                  <a:close/>
                </a:path>
                <a:path w="1562100" h="3326129">
                  <a:moveTo>
                    <a:pt x="843648" y="2017852"/>
                  </a:moveTo>
                  <a:lnTo>
                    <a:pt x="830948" y="2017852"/>
                  </a:lnTo>
                  <a:lnTo>
                    <a:pt x="830948" y="2055952"/>
                  </a:lnTo>
                  <a:lnTo>
                    <a:pt x="843648" y="2055952"/>
                  </a:lnTo>
                  <a:lnTo>
                    <a:pt x="843648" y="2017852"/>
                  </a:lnTo>
                  <a:close/>
                </a:path>
                <a:path w="1562100" h="3326129">
                  <a:moveTo>
                    <a:pt x="843648" y="1967052"/>
                  </a:moveTo>
                  <a:lnTo>
                    <a:pt x="830948" y="1967052"/>
                  </a:lnTo>
                  <a:lnTo>
                    <a:pt x="830948" y="2005152"/>
                  </a:lnTo>
                  <a:lnTo>
                    <a:pt x="843648" y="2005152"/>
                  </a:lnTo>
                  <a:lnTo>
                    <a:pt x="843648" y="1967052"/>
                  </a:lnTo>
                  <a:close/>
                </a:path>
                <a:path w="1562100" h="3326129">
                  <a:moveTo>
                    <a:pt x="843648" y="1916252"/>
                  </a:moveTo>
                  <a:lnTo>
                    <a:pt x="830948" y="1916252"/>
                  </a:lnTo>
                  <a:lnTo>
                    <a:pt x="830948" y="1954352"/>
                  </a:lnTo>
                  <a:lnTo>
                    <a:pt x="843648" y="1954352"/>
                  </a:lnTo>
                  <a:lnTo>
                    <a:pt x="843648" y="1916252"/>
                  </a:lnTo>
                  <a:close/>
                </a:path>
                <a:path w="1562100" h="3326129">
                  <a:moveTo>
                    <a:pt x="843648" y="1865452"/>
                  </a:moveTo>
                  <a:lnTo>
                    <a:pt x="830948" y="1865452"/>
                  </a:lnTo>
                  <a:lnTo>
                    <a:pt x="830948" y="1903552"/>
                  </a:lnTo>
                  <a:lnTo>
                    <a:pt x="843648" y="1903552"/>
                  </a:lnTo>
                  <a:lnTo>
                    <a:pt x="843648" y="1865452"/>
                  </a:lnTo>
                  <a:close/>
                </a:path>
                <a:path w="1562100" h="3326129">
                  <a:moveTo>
                    <a:pt x="843648" y="1814652"/>
                  </a:moveTo>
                  <a:lnTo>
                    <a:pt x="830948" y="1814652"/>
                  </a:lnTo>
                  <a:lnTo>
                    <a:pt x="830948" y="1852752"/>
                  </a:lnTo>
                  <a:lnTo>
                    <a:pt x="843648" y="1852752"/>
                  </a:lnTo>
                  <a:lnTo>
                    <a:pt x="843648" y="1814652"/>
                  </a:lnTo>
                  <a:close/>
                </a:path>
                <a:path w="1562100" h="3326129">
                  <a:moveTo>
                    <a:pt x="843648" y="1763852"/>
                  </a:moveTo>
                  <a:lnTo>
                    <a:pt x="830948" y="1763852"/>
                  </a:lnTo>
                  <a:lnTo>
                    <a:pt x="830948" y="1801952"/>
                  </a:lnTo>
                  <a:lnTo>
                    <a:pt x="843648" y="1801952"/>
                  </a:lnTo>
                  <a:lnTo>
                    <a:pt x="843648" y="1763852"/>
                  </a:lnTo>
                  <a:close/>
                </a:path>
                <a:path w="1562100" h="3326129">
                  <a:moveTo>
                    <a:pt x="843648" y="1713052"/>
                  </a:moveTo>
                  <a:lnTo>
                    <a:pt x="830948" y="1713052"/>
                  </a:lnTo>
                  <a:lnTo>
                    <a:pt x="830948" y="1751152"/>
                  </a:lnTo>
                  <a:lnTo>
                    <a:pt x="843648" y="1751152"/>
                  </a:lnTo>
                  <a:lnTo>
                    <a:pt x="843648" y="1713052"/>
                  </a:lnTo>
                  <a:close/>
                </a:path>
                <a:path w="1562100" h="3326129">
                  <a:moveTo>
                    <a:pt x="843648" y="1667941"/>
                  </a:moveTo>
                  <a:lnTo>
                    <a:pt x="842987" y="1668614"/>
                  </a:lnTo>
                  <a:lnTo>
                    <a:pt x="842987" y="1661591"/>
                  </a:lnTo>
                  <a:lnTo>
                    <a:pt x="833793" y="1661591"/>
                  </a:lnTo>
                  <a:lnTo>
                    <a:pt x="830948" y="1664436"/>
                  </a:lnTo>
                  <a:lnTo>
                    <a:pt x="830948" y="1700352"/>
                  </a:lnTo>
                  <a:lnTo>
                    <a:pt x="843648" y="1700352"/>
                  </a:lnTo>
                  <a:lnTo>
                    <a:pt x="843648" y="1674291"/>
                  </a:lnTo>
                  <a:lnTo>
                    <a:pt x="843648" y="1667941"/>
                  </a:lnTo>
                  <a:close/>
                </a:path>
                <a:path w="1562100" h="3326129">
                  <a:moveTo>
                    <a:pt x="893787" y="1661591"/>
                  </a:moveTo>
                  <a:lnTo>
                    <a:pt x="855687" y="1661591"/>
                  </a:lnTo>
                  <a:lnTo>
                    <a:pt x="855687" y="1674291"/>
                  </a:lnTo>
                  <a:lnTo>
                    <a:pt x="893787" y="1674291"/>
                  </a:lnTo>
                  <a:lnTo>
                    <a:pt x="893787" y="1661591"/>
                  </a:lnTo>
                  <a:close/>
                </a:path>
                <a:path w="1562100" h="3326129">
                  <a:moveTo>
                    <a:pt x="944587" y="1661591"/>
                  </a:moveTo>
                  <a:lnTo>
                    <a:pt x="906487" y="1661591"/>
                  </a:lnTo>
                  <a:lnTo>
                    <a:pt x="906487" y="1674291"/>
                  </a:lnTo>
                  <a:lnTo>
                    <a:pt x="944587" y="1674291"/>
                  </a:lnTo>
                  <a:lnTo>
                    <a:pt x="944587" y="1661591"/>
                  </a:lnTo>
                  <a:close/>
                </a:path>
                <a:path w="1562100" h="3326129">
                  <a:moveTo>
                    <a:pt x="995387" y="1661591"/>
                  </a:moveTo>
                  <a:lnTo>
                    <a:pt x="957287" y="1661591"/>
                  </a:lnTo>
                  <a:lnTo>
                    <a:pt x="957287" y="1674291"/>
                  </a:lnTo>
                  <a:lnTo>
                    <a:pt x="995387" y="1674291"/>
                  </a:lnTo>
                  <a:lnTo>
                    <a:pt x="995387" y="1661591"/>
                  </a:lnTo>
                  <a:close/>
                </a:path>
                <a:path w="1562100" h="3326129">
                  <a:moveTo>
                    <a:pt x="1046187" y="1661591"/>
                  </a:moveTo>
                  <a:lnTo>
                    <a:pt x="1008087" y="1661591"/>
                  </a:lnTo>
                  <a:lnTo>
                    <a:pt x="1008087" y="1674291"/>
                  </a:lnTo>
                  <a:lnTo>
                    <a:pt x="1046187" y="1674291"/>
                  </a:lnTo>
                  <a:lnTo>
                    <a:pt x="1046187" y="1661591"/>
                  </a:lnTo>
                  <a:close/>
                </a:path>
                <a:path w="1562100" h="3326129">
                  <a:moveTo>
                    <a:pt x="1096987" y="1661591"/>
                  </a:moveTo>
                  <a:lnTo>
                    <a:pt x="1058887" y="1661591"/>
                  </a:lnTo>
                  <a:lnTo>
                    <a:pt x="1058887" y="1674291"/>
                  </a:lnTo>
                  <a:lnTo>
                    <a:pt x="1096987" y="1674291"/>
                  </a:lnTo>
                  <a:lnTo>
                    <a:pt x="1096987" y="1661591"/>
                  </a:lnTo>
                  <a:close/>
                </a:path>
                <a:path w="1562100" h="3326129">
                  <a:moveTo>
                    <a:pt x="1147787" y="1661591"/>
                  </a:moveTo>
                  <a:lnTo>
                    <a:pt x="1109687" y="1661591"/>
                  </a:lnTo>
                  <a:lnTo>
                    <a:pt x="1109687" y="1674291"/>
                  </a:lnTo>
                  <a:lnTo>
                    <a:pt x="1147787" y="1674291"/>
                  </a:lnTo>
                  <a:lnTo>
                    <a:pt x="1147787" y="1661591"/>
                  </a:lnTo>
                  <a:close/>
                </a:path>
                <a:path w="1562100" h="3326129">
                  <a:moveTo>
                    <a:pt x="1198587" y="1661591"/>
                  </a:moveTo>
                  <a:lnTo>
                    <a:pt x="1160487" y="1661591"/>
                  </a:lnTo>
                  <a:lnTo>
                    <a:pt x="1160487" y="1674291"/>
                  </a:lnTo>
                  <a:lnTo>
                    <a:pt x="1198587" y="1674291"/>
                  </a:lnTo>
                  <a:lnTo>
                    <a:pt x="1198587" y="1661591"/>
                  </a:lnTo>
                  <a:close/>
                </a:path>
                <a:path w="1562100" h="3326129">
                  <a:moveTo>
                    <a:pt x="1249387" y="1661591"/>
                  </a:moveTo>
                  <a:lnTo>
                    <a:pt x="1211287" y="1661591"/>
                  </a:lnTo>
                  <a:lnTo>
                    <a:pt x="1211287" y="1674291"/>
                  </a:lnTo>
                  <a:lnTo>
                    <a:pt x="1249387" y="1674291"/>
                  </a:lnTo>
                  <a:lnTo>
                    <a:pt x="1249387" y="1661591"/>
                  </a:lnTo>
                  <a:close/>
                </a:path>
                <a:path w="1562100" h="3326129">
                  <a:moveTo>
                    <a:pt x="1300187" y="1661591"/>
                  </a:moveTo>
                  <a:lnTo>
                    <a:pt x="1262087" y="1661591"/>
                  </a:lnTo>
                  <a:lnTo>
                    <a:pt x="1262087" y="1674291"/>
                  </a:lnTo>
                  <a:lnTo>
                    <a:pt x="1300187" y="1674291"/>
                  </a:lnTo>
                  <a:lnTo>
                    <a:pt x="1300187" y="1661591"/>
                  </a:lnTo>
                  <a:close/>
                </a:path>
                <a:path w="1562100" h="3326129">
                  <a:moveTo>
                    <a:pt x="1350987" y="1661591"/>
                  </a:moveTo>
                  <a:lnTo>
                    <a:pt x="1312887" y="1661591"/>
                  </a:lnTo>
                  <a:lnTo>
                    <a:pt x="1312887" y="1674291"/>
                  </a:lnTo>
                  <a:lnTo>
                    <a:pt x="1350987" y="1674291"/>
                  </a:lnTo>
                  <a:lnTo>
                    <a:pt x="1350987" y="1661591"/>
                  </a:lnTo>
                  <a:close/>
                </a:path>
                <a:path w="1562100" h="3326129">
                  <a:moveTo>
                    <a:pt x="1401787" y="1661591"/>
                  </a:moveTo>
                  <a:lnTo>
                    <a:pt x="1363687" y="1661591"/>
                  </a:lnTo>
                  <a:lnTo>
                    <a:pt x="1363687" y="1674291"/>
                  </a:lnTo>
                  <a:lnTo>
                    <a:pt x="1401787" y="1674291"/>
                  </a:lnTo>
                  <a:lnTo>
                    <a:pt x="1401787" y="1661591"/>
                  </a:lnTo>
                  <a:close/>
                </a:path>
                <a:path w="1562100" h="3326129">
                  <a:moveTo>
                    <a:pt x="1452587" y="1661591"/>
                  </a:moveTo>
                  <a:lnTo>
                    <a:pt x="1414487" y="1661591"/>
                  </a:lnTo>
                  <a:lnTo>
                    <a:pt x="1414487" y="1674291"/>
                  </a:lnTo>
                  <a:lnTo>
                    <a:pt x="1452587" y="1674291"/>
                  </a:lnTo>
                  <a:lnTo>
                    <a:pt x="1452587" y="1661591"/>
                  </a:lnTo>
                  <a:close/>
                </a:path>
                <a:path w="1562100" h="3326129">
                  <a:moveTo>
                    <a:pt x="1503387" y="1661591"/>
                  </a:moveTo>
                  <a:lnTo>
                    <a:pt x="1465287" y="1661591"/>
                  </a:lnTo>
                  <a:lnTo>
                    <a:pt x="1465287" y="1674291"/>
                  </a:lnTo>
                  <a:lnTo>
                    <a:pt x="1503387" y="1674291"/>
                  </a:lnTo>
                  <a:lnTo>
                    <a:pt x="1503387" y="1661591"/>
                  </a:lnTo>
                  <a:close/>
                </a:path>
                <a:path w="1562100" h="3326129">
                  <a:moveTo>
                    <a:pt x="1530184" y="1637588"/>
                  </a:moveTo>
                  <a:lnTo>
                    <a:pt x="1517484" y="1637588"/>
                  </a:lnTo>
                  <a:lnTo>
                    <a:pt x="1517484" y="1661591"/>
                  </a:lnTo>
                  <a:lnTo>
                    <a:pt x="1516087" y="1661591"/>
                  </a:lnTo>
                  <a:lnTo>
                    <a:pt x="1516087" y="1674291"/>
                  </a:lnTo>
                  <a:lnTo>
                    <a:pt x="1527340" y="1674291"/>
                  </a:lnTo>
                  <a:lnTo>
                    <a:pt x="1530184" y="1671459"/>
                  </a:lnTo>
                  <a:lnTo>
                    <a:pt x="1530184" y="1667941"/>
                  </a:lnTo>
                  <a:lnTo>
                    <a:pt x="1530184" y="1661591"/>
                  </a:lnTo>
                  <a:lnTo>
                    <a:pt x="1530184" y="1637588"/>
                  </a:lnTo>
                  <a:close/>
                </a:path>
                <a:path w="1562100" h="3326129">
                  <a:moveTo>
                    <a:pt x="1530184" y="1586788"/>
                  </a:moveTo>
                  <a:lnTo>
                    <a:pt x="1517484" y="1586788"/>
                  </a:lnTo>
                  <a:lnTo>
                    <a:pt x="1517484" y="1624888"/>
                  </a:lnTo>
                  <a:lnTo>
                    <a:pt x="1530184" y="1624888"/>
                  </a:lnTo>
                  <a:lnTo>
                    <a:pt x="1530184" y="1586788"/>
                  </a:lnTo>
                  <a:close/>
                </a:path>
                <a:path w="1562100" h="3326129">
                  <a:moveTo>
                    <a:pt x="1530184" y="1535988"/>
                  </a:moveTo>
                  <a:lnTo>
                    <a:pt x="1517484" y="1535988"/>
                  </a:lnTo>
                  <a:lnTo>
                    <a:pt x="1517484" y="1574088"/>
                  </a:lnTo>
                  <a:lnTo>
                    <a:pt x="1530184" y="1574088"/>
                  </a:lnTo>
                  <a:lnTo>
                    <a:pt x="1530184" y="1535988"/>
                  </a:lnTo>
                  <a:close/>
                </a:path>
                <a:path w="1562100" h="3326129">
                  <a:moveTo>
                    <a:pt x="1530184" y="1485188"/>
                  </a:moveTo>
                  <a:lnTo>
                    <a:pt x="1517484" y="1485188"/>
                  </a:lnTo>
                  <a:lnTo>
                    <a:pt x="1517484" y="1523288"/>
                  </a:lnTo>
                  <a:lnTo>
                    <a:pt x="1530184" y="1523288"/>
                  </a:lnTo>
                  <a:lnTo>
                    <a:pt x="1530184" y="1485188"/>
                  </a:lnTo>
                  <a:close/>
                </a:path>
                <a:path w="1562100" h="3326129">
                  <a:moveTo>
                    <a:pt x="1530184" y="1434388"/>
                  </a:moveTo>
                  <a:lnTo>
                    <a:pt x="1517484" y="1434388"/>
                  </a:lnTo>
                  <a:lnTo>
                    <a:pt x="1517484" y="1472488"/>
                  </a:lnTo>
                  <a:lnTo>
                    <a:pt x="1530184" y="1472488"/>
                  </a:lnTo>
                  <a:lnTo>
                    <a:pt x="1530184" y="1434388"/>
                  </a:lnTo>
                  <a:close/>
                </a:path>
                <a:path w="1562100" h="3326129">
                  <a:moveTo>
                    <a:pt x="1530184" y="1383588"/>
                  </a:moveTo>
                  <a:lnTo>
                    <a:pt x="1517484" y="1383588"/>
                  </a:lnTo>
                  <a:lnTo>
                    <a:pt x="1517484" y="1421688"/>
                  </a:lnTo>
                  <a:lnTo>
                    <a:pt x="1530184" y="1421688"/>
                  </a:lnTo>
                  <a:lnTo>
                    <a:pt x="1530184" y="1383588"/>
                  </a:lnTo>
                  <a:close/>
                </a:path>
                <a:path w="1562100" h="3326129">
                  <a:moveTo>
                    <a:pt x="1530184" y="1332788"/>
                  </a:moveTo>
                  <a:lnTo>
                    <a:pt x="1517484" y="1332788"/>
                  </a:lnTo>
                  <a:lnTo>
                    <a:pt x="1517484" y="1370888"/>
                  </a:lnTo>
                  <a:lnTo>
                    <a:pt x="1530184" y="1370888"/>
                  </a:lnTo>
                  <a:lnTo>
                    <a:pt x="1530184" y="1332788"/>
                  </a:lnTo>
                  <a:close/>
                </a:path>
                <a:path w="1562100" h="3326129">
                  <a:moveTo>
                    <a:pt x="1530184" y="1281988"/>
                  </a:moveTo>
                  <a:lnTo>
                    <a:pt x="1517484" y="1281988"/>
                  </a:lnTo>
                  <a:lnTo>
                    <a:pt x="1517484" y="1320088"/>
                  </a:lnTo>
                  <a:lnTo>
                    <a:pt x="1530184" y="1320088"/>
                  </a:lnTo>
                  <a:lnTo>
                    <a:pt x="1530184" y="1281988"/>
                  </a:lnTo>
                  <a:close/>
                </a:path>
                <a:path w="1562100" h="3326129">
                  <a:moveTo>
                    <a:pt x="1530184" y="1231188"/>
                  </a:moveTo>
                  <a:lnTo>
                    <a:pt x="1517484" y="1231188"/>
                  </a:lnTo>
                  <a:lnTo>
                    <a:pt x="1517484" y="1269288"/>
                  </a:lnTo>
                  <a:lnTo>
                    <a:pt x="1530184" y="1269288"/>
                  </a:lnTo>
                  <a:lnTo>
                    <a:pt x="1530184" y="1231188"/>
                  </a:lnTo>
                  <a:close/>
                </a:path>
                <a:path w="1562100" h="3326129">
                  <a:moveTo>
                    <a:pt x="1530184" y="1180388"/>
                  </a:moveTo>
                  <a:lnTo>
                    <a:pt x="1517484" y="1180388"/>
                  </a:lnTo>
                  <a:lnTo>
                    <a:pt x="1517484" y="1218488"/>
                  </a:lnTo>
                  <a:lnTo>
                    <a:pt x="1530184" y="1218488"/>
                  </a:lnTo>
                  <a:lnTo>
                    <a:pt x="1530184" y="1180388"/>
                  </a:lnTo>
                  <a:close/>
                </a:path>
                <a:path w="1562100" h="3326129">
                  <a:moveTo>
                    <a:pt x="1530184" y="1129588"/>
                  </a:moveTo>
                  <a:lnTo>
                    <a:pt x="1517484" y="1129588"/>
                  </a:lnTo>
                  <a:lnTo>
                    <a:pt x="1517484" y="1167688"/>
                  </a:lnTo>
                  <a:lnTo>
                    <a:pt x="1530184" y="1167688"/>
                  </a:lnTo>
                  <a:lnTo>
                    <a:pt x="1530184" y="1129588"/>
                  </a:lnTo>
                  <a:close/>
                </a:path>
                <a:path w="1562100" h="3326129">
                  <a:moveTo>
                    <a:pt x="1530184" y="1078788"/>
                  </a:moveTo>
                  <a:lnTo>
                    <a:pt x="1517484" y="1078788"/>
                  </a:lnTo>
                  <a:lnTo>
                    <a:pt x="1517484" y="1116888"/>
                  </a:lnTo>
                  <a:lnTo>
                    <a:pt x="1530184" y="1116888"/>
                  </a:lnTo>
                  <a:lnTo>
                    <a:pt x="1530184" y="1078788"/>
                  </a:lnTo>
                  <a:close/>
                </a:path>
                <a:path w="1562100" h="3326129">
                  <a:moveTo>
                    <a:pt x="1530184" y="1027988"/>
                  </a:moveTo>
                  <a:lnTo>
                    <a:pt x="1517484" y="1027988"/>
                  </a:lnTo>
                  <a:lnTo>
                    <a:pt x="1517484" y="1066088"/>
                  </a:lnTo>
                  <a:lnTo>
                    <a:pt x="1530184" y="1066088"/>
                  </a:lnTo>
                  <a:lnTo>
                    <a:pt x="1530184" y="1027988"/>
                  </a:lnTo>
                  <a:close/>
                </a:path>
                <a:path w="1562100" h="3326129">
                  <a:moveTo>
                    <a:pt x="1530184" y="977188"/>
                  </a:moveTo>
                  <a:lnTo>
                    <a:pt x="1517484" y="977188"/>
                  </a:lnTo>
                  <a:lnTo>
                    <a:pt x="1517484" y="1015288"/>
                  </a:lnTo>
                  <a:lnTo>
                    <a:pt x="1530184" y="1015288"/>
                  </a:lnTo>
                  <a:lnTo>
                    <a:pt x="1530184" y="977188"/>
                  </a:lnTo>
                  <a:close/>
                </a:path>
                <a:path w="1562100" h="3326129">
                  <a:moveTo>
                    <a:pt x="1530184" y="926388"/>
                  </a:moveTo>
                  <a:lnTo>
                    <a:pt x="1517484" y="926388"/>
                  </a:lnTo>
                  <a:lnTo>
                    <a:pt x="1517484" y="964488"/>
                  </a:lnTo>
                  <a:lnTo>
                    <a:pt x="1530184" y="964488"/>
                  </a:lnTo>
                  <a:lnTo>
                    <a:pt x="1530184" y="926388"/>
                  </a:lnTo>
                  <a:close/>
                </a:path>
                <a:path w="1562100" h="3326129">
                  <a:moveTo>
                    <a:pt x="1530184" y="875588"/>
                  </a:moveTo>
                  <a:lnTo>
                    <a:pt x="1517484" y="875588"/>
                  </a:lnTo>
                  <a:lnTo>
                    <a:pt x="1517484" y="913688"/>
                  </a:lnTo>
                  <a:lnTo>
                    <a:pt x="1530184" y="913688"/>
                  </a:lnTo>
                  <a:lnTo>
                    <a:pt x="1530184" y="875588"/>
                  </a:lnTo>
                  <a:close/>
                </a:path>
                <a:path w="1562100" h="3326129">
                  <a:moveTo>
                    <a:pt x="1530184" y="824788"/>
                  </a:moveTo>
                  <a:lnTo>
                    <a:pt x="1517484" y="824788"/>
                  </a:lnTo>
                  <a:lnTo>
                    <a:pt x="1517484" y="862888"/>
                  </a:lnTo>
                  <a:lnTo>
                    <a:pt x="1530184" y="862888"/>
                  </a:lnTo>
                  <a:lnTo>
                    <a:pt x="1530184" y="824788"/>
                  </a:lnTo>
                  <a:close/>
                </a:path>
                <a:path w="1562100" h="3326129">
                  <a:moveTo>
                    <a:pt x="1530184" y="773988"/>
                  </a:moveTo>
                  <a:lnTo>
                    <a:pt x="1517484" y="773988"/>
                  </a:lnTo>
                  <a:lnTo>
                    <a:pt x="1517484" y="812088"/>
                  </a:lnTo>
                  <a:lnTo>
                    <a:pt x="1530184" y="812088"/>
                  </a:lnTo>
                  <a:lnTo>
                    <a:pt x="1530184" y="773988"/>
                  </a:lnTo>
                  <a:close/>
                </a:path>
                <a:path w="1562100" h="3326129">
                  <a:moveTo>
                    <a:pt x="1530184" y="723188"/>
                  </a:moveTo>
                  <a:lnTo>
                    <a:pt x="1517484" y="723188"/>
                  </a:lnTo>
                  <a:lnTo>
                    <a:pt x="1517484" y="761288"/>
                  </a:lnTo>
                  <a:lnTo>
                    <a:pt x="1530184" y="761288"/>
                  </a:lnTo>
                  <a:lnTo>
                    <a:pt x="1530184" y="723188"/>
                  </a:lnTo>
                  <a:close/>
                </a:path>
                <a:path w="1562100" h="3326129">
                  <a:moveTo>
                    <a:pt x="1530184" y="672388"/>
                  </a:moveTo>
                  <a:lnTo>
                    <a:pt x="1517484" y="672388"/>
                  </a:lnTo>
                  <a:lnTo>
                    <a:pt x="1517484" y="710488"/>
                  </a:lnTo>
                  <a:lnTo>
                    <a:pt x="1530184" y="710488"/>
                  </a:lnTo>
                  <a:lnTo>
                    <a:pt x="1530184" y="672388"/>
                  </a:lnTo>
                  <a:close/>
                </a:path>
                <a:path w="1562100" h="3326129">
                  <a:moveTo>
                    <a:pt x="1530184" y="621588"/>
                  </a:moveTo>
                  <a:lnTo>
                    <a:pt x="1517484" y="621588"/>
                  </a:lnTo>
                  <a:lnTo>
                    <a:pt x="1517484" y="659688"/>
                  </a:lnTo>
                  <a:lnTo>
                    <a:pt x="1530184" y="659688"/>
                  </a:lnTo>
                  <a:lnTo>
                    <a:pt x="1530184" y="621588"/>
                  </a:lnTo>
                  <a:close/>
                </a:path>
                <a:path w="1562100" h="3326129">
                  <a:moveTo>
                    <a:pt x="1530184" y="570788"/>
                  </a:moveTo>
                  <a:lnTo>
                    <a:pt x="1517484" y="570788"/>
                  </a:lnTo>
                  <a:lnTo>
                    <a:pt x="1517484" y="608888"/>
                  </a:lnTo>
                  <a:lnTo>
                    <a:pt x="1530184" y="608888"/>
                  </a:lnTo>
                  <a:lnTo>
                    <a:pt x="1530184" y="570788"/>
                  </a:lnTo>
                  <a:close/>
                </a:path>
                <a:path w="1562100" h="3326129">
                  <a:moveTo>
                    <a:pt x="1530184" y="519988"/>
                  </a:moveTo>
                  <a:lnTo>
                    <a:pt x="1517484" y="519988"/>
                  </a:lnTo>
                  <a:lnTo>
                    <a:pt x="1517484" y="558088"/>
                  </a:lnTo>
                  <a:lnTo>
                    <a:pt x="1530184" y="558088"/>
                  </a:lnTo>
                  <a:lnTo>
                    <a:pt x="1530184" y="519988"/>
                  </a:lnTo>
                  <a:close/>
                </a:path>
                <a:path w="1562100" h="3326129">
                  <a:moveTo>
                    <a:pt x="1530184" y="469188"/>
                  </a:moveTo>
                  <a:lnTo>
                    <a:pt x="1517484" y="469188"/>
                  </a:lnTo>
                  <a:lnTo>
                    <a:pt x="1517484" y="507288"/>
                  </a:lnTo>
                  <a:lnTo>
                    <a:pt x="1530184" y="507288"/>
                  </a:lnTo>
                  <a:lnTo>
                    <a:pt x="1530184" y="469188"/>
                  </a:lnTo>
                  <a:close/>
                </a:path>
                <a:path w="1562100" h="3326129">
                  <a:moveTo>
                    <a:pt x="1530184" y="418388"/>
                  </a:moveTo>
                  <a:lnTo>
                    <a:pt x="1517484" y="418388"/>
                  </a:lnTo>
                  <a:lnTo>
                    <a:pt x="1517484" y="456488"/>
                  </a:lnTo>
                  <a:lnTo>
                    <a:pt x="1530184" y="456488"/>
                  </a:lnTo>
                  <a:lnTo>
                    <a:pt x="1530184" y="418388"/>
                  </a:lnTo>
                  <a:close/>
                </a:path>
                <a:path w="1562100" h="3326129">
                  <a:moveTo>
                    <a:pt x="1530184" y="367588"/>
                  </a:moveTo>
                  <a:lnTo>
                    <a:pt x="1517484" y="367588"/>
                  </a:lnTo>
                  <a:lnTo>
                    <a:pt x="1517484" y="405688"/>
                  </a:lnTo>
                  <a:lnTo>
                    <a:pt x="1530184" y="405688"/>
                  </a:lnTo>
                  <a:lnTo>
                    <a:pt x="1530184" y="367588"/>
                  </a:lnTo>
                  <a:close/>
                </a:path>
                <a:path w="1562100" h="3326129">
                  <a:moveTo>
                    <a:pt x="1530184" y="316788"/>
                  </a:moveTo>
                  <a:lnTo>
                    <a:pt x="1517484" y="316788"/>
                  </a:lnTo>
                  <a:lnTo>
                    <a:pt x="1517484" y="354888"/>
                  </a:lnTo>
                  <a:lnTo>
                    <a:pt x="1530184" y="354888"/>
                  </a:lnTo>
                  <a:lnTo>
                    <a:pt x="1530184" y="316788"/>
                  </a:lnTo>
                  <a:close/>
                </a:path>
                <a:path w="1562100" h="3326129">
                  <a:moveTo>
                    <a:pt x="1530184" y="265988"/>
                  </a:moveTo>
                  <a:lnTo>
                    <a:pt x="1517484" y="265988"/>
                  </a:lnTo>
                  <a:lnTo>
                    <a:pt x="1517484" y="304088"/>
                  </a:lnTo>
                  <a:lnTo>
                    <a:pt x="1530184" y="304088"/>
                  </a:lnTo>
                  <a:lnTo>
                    <a:pt x="1530184" y="265988"/>
                  </a:lnTo>
                  <a:close/>
                </a:path>
                <a:path w="1562100" h="3326129">
                  <a:moveTo>
                    <a:pt x="1530184" y="215188"/>
                  </a:moveTo>
                  <a:lnTo>
                    <a:pt x="1517484" y="215188"/>
                  </a:lnTo>
                  <a:lnTo>
                    <a:pt x="1517484" y="253288"/>
                  </a:lnTo>
                  <a:lnTo>
                    <a:pt x="1530184" y="253288"/>
                  </a:lnTo>
                  <a:lnTo>
                    <a:pt x="1530184" y="215188"/>
                  </a:lnTo>
                  <a:close/>
                </a:path>
                <a:path w="1562100" h="3326129">
                  <a:moveTo>
                    <a:pt x="1530184" y="164388"/>
                  </a:moveTo>
                  <a:lnTo>
                    <a:pt x="1517484" y="164388"/>
                  </a:lnTo>
                  <a:lnTo>
                    <a:pt x="1517484" y="202488"/>
                  </a:lnTo>
                  <a:lnTo>
                    <a:pt x="1530184" y="202488"/>
                  </a:lnTo>
                  <a:lnTo>
                    <a:pt x="1530184" y="164388"/>
                  </a:lnTo>
                  <a:close/>
                </a:path>
                <a:path w="1562100" h="3326129">
                  <a:moveTo>
                    <a:pt x="1530184" y="113588"/>
                  </a:moveTo>
                  <a:lnTo>
                    <a:pt x="1517484" y="113588"/>
                  </a:lnTo>
                  <a:lnTo>
                    <a:pt x="1517484" y="151688"/>
                  </a:lnTo>
                  <a:lnTo>
                    <a:pt x="1530184" y="151688"/>
                  </a:lnTo>
                  <a:lnTo>
                    <a:pt x="1530184" y="113588"/>
                  </a:lnTo>
                  <a:close/>
                </a:path>
                <a:path w="1562100" h="3326129">
                  <a:moveTo>
                    <a:pt x="1561934" y="86131"/>
                  </a:moveTo>
                  <a:lnTo>
                    <a:pt x="1555584" y="73431"/>
                  </a:lnTo>
                  <a:lnTo>
                    <a:pt x="1523834" y="9931"/>
                  </a:lnTo>
                  <a:lnTo>
                    <a:pt x="1485734" y="86131"/>
                  </a:lnTo>
                  <a:lnTo>
                    <a:pt x="1517484" y="86131"/>
                  </a:lnTo>
                  <a:lnTo>
                    <a:pt x="1517484" y="100888"/>
                  </a:lnTo>
                  <a:lnTo>
                    <a:pt x="1530184" y="100888"/>
                  </a:lnTo>
                  <a:lnTo>
                    <a:pt x="1530184" y="86131"/>
                  </a:lnTo>
                  <a:lnTo>
                    <a:pt x="1561934" y="86131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855690" y="2972650"/>
              <a:ext cx="252006" cy="25199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2621279" y="1011936"/>
            <a:ext cx="582168" cy="5821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279967" y="1545843"/>
            <a:ext cx="126682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24154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latin typeface="Trebuchet MS"/>
                <a:cs typeface="Trebuchet MS"/>
              </a:rPr>
              <a:t>Overvåkning </a:t>
            </a:r>
            <a:r>
              <a:rPr sz="1000" spc="-45">
                <a:latin typeface="Trebuchet MS"/>
                <a:cs typeface="Trebuchet MS"/>
              </a:rPr>
              <a:t>av  modellers</a:t>
            </a:r>
            <a:r>
              <a:rPr sz="1000" spc="-90">
                <a:latin typeface="Trebuchet MS"/>
                <a:cs typeface="Trebuchet MS"/>
              </a:rPr>
              <a:t> </a:t>
            </a:r>
            <a:r>
              <a:rPr sz="1000" spc="-55">
                <a:latin typeface="Trebuchet MS"/>
                <a:cs typeface="Trebuchet MS"/>
              </a:rPr>
              <a:t>treffsikkerhet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274646" y="939317"/>
            <a:ext cx="252006" cy="2519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342705" y="934212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102608" y="1011936"/>
            <a:ext cx="582167" cy="58216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747617" y="1698243"/>
            <a:ext cx="129159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latin typeface="Trebuchet MS"/>
                <a:cs typeface="Trebuchet MS"/>
              </a:rPr>
              <a:t>Måling </a:t>
            </a:r>
            <a:r>
              <a:rPr sz="1000" spc="-45">
                <a:latin typeface="Trebuchet MS"/>
                <a:cs typeface="Trebuchet MS"/>
              </a:rPr>
              <a:t>av generert</a:t>
            </a:r>
            <a:r>
              <a:rPr sz="1000" spc="-200">
                <a:latin typeface="Trebuchet MS"/>
                <a:cs typeface="Trebuchet MS"/>
              </a:rPr>
              <a:t> </a:t>
            </a:r>
            <a:r>
              <a:rPr sz="1000" spc="-50">
                <a:latin typeface="Trebuchet MS"/>
                <a:cs typeface="Trebuchet MS"/>
              </a:rPr>
              <a:t>verdi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670262" y="939317"/>
            <a:ext cx="251993" cy="25199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738321" y="934212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143000" y="1011936"/>
            <a:ext cx="582168" cy="5821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895656" y="1698243"/>
            <a:ext cx="107696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latin typeface="Trebuchet MS"/>
                <a:cs typeface="Trebuchet MS"/>
              </a:rPr>
              <a:t>Overvåkning </a:t>
            </a:r>
            <a:r>
              <a:rPr sz="1000" spc="-45">
                <a:latin typeface="Trebuchet MS"/>
                <a:cs typeface="Trebuchet MS"/>
              </a:rPr>
              <a:t>av</a:t>
            </a:r>
            <a:r>
              <a:rPr sz="1000" spc="-185">
                <a:latin typeface="Trebuchet MS"/>
                <a:cs typeface="Trebuchet MS"/>
              </a:rPr>
              <a:t> </a:t>
            </a:r>
            <a:r>
              <a:rPr sz="1000" spc="-50">
                <a:latin typeface="Trebuchet MS"/>
                <a:cs typeface="Trebuchet MS"/>
              </a:rPr>
              <a:t>data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735808" y="939317"/>
            <a:ext cx="251999" cy="25199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803865" y="934212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89287" y="3932821"/>
            <a:ext cx="251999" cy="25200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57342" y="3927348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4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938783" y="3852671"/>
            <a:ext cx="917447" cy="91744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006373" y="4633467"/>
            <a:ext cx="7842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0">
                <a:latin typeface="Trebuchet MS"/>
                <a:cs typeface="Trebuchet MS"/>
              </a:rPr>
              <a:t>Feature</a:t>
            </a:r>
            <a:r>
              <a:rPr sz="1000" spc="-130">
                <a:latin typeface="Trebuchet MS"/>
                <a:cs typeface="Trebuchet MS"/>
              </a:rPr>
              <a:t> </a:t>
            </a:r>
            <a:r>
              <a:rPr sz="1000" spc="-10">
                <a:latin typeface="Trebuchet MS"/>
                <a:cs typeface="Trebuchet MS"/>
              </a:rPr>
              <a:t>store*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923750" y="2967228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5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800331" y="3673347"/>
            <a:ext cx="206121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30">
                <a:latin typeface="Trebuchet MS"/>
                <a:cs typeface="Trebuchet MS"/>
              </a:rPr>
              <a:t>Modulariserte + </a:t>
            </a:r>
            <a:r>
              <a:rPr sz="1000" spc="-50">
                <a:latin typeface="Trebuchet MS"/>
                <a:cs typeface="Trebuchet MS"/>
              </a:rPr>
              <a:t>gjenbrukbare</a:t>
            </a:r>
            <a:r>
              <a:rPr sz="1000" spc="-210">
                <a:latin typeface="Trebuchet MS"/>
                <a:cs typeface="Trebuchet MS"/>
              </a:rPr>
              <a:t> </a:t>
            </a:r>
            <a:r>
              <a:rPr sz="1000" spc="-45">
                <a:latin typeface="Trebuchet MS"/>
                <a:cs typeface="Trebuchet MS"/>
              </a:rPr>
              <a:t>pipeline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5976933" y="3306241"/>
            <a:ext cx="1764030" cy="317500"/>
            <a:chOff x="5976933" y="3306241"/>
            <a:chExt cx="1764030" cy="317500"/>
          </a:xfrm>
        </p:grpSpPr>
        <p:sp>
          <p:nvSpPr>
            <p:cNvPr id="28" name="object 28"/>
            <p:cNvSpPr/>
            <p:nvPr/>
          </p:nvSpPr>
          <p:spPr>
            <a:xfrm>
              <a:off x="6933764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133664" y="0"/>
                  </a:moveTo>
                  <a:lnTo>
                    <a:pt x="175912" y="7837"/>
                  </a:lnTo>
                  <a:lnTo>
                    <a:pt x="212604" y="29661"/>
                  </a:lnTo>
                  <a:lnTo>
                    <a:pt x="241538" y="62940"/>
                  </a:lnTo>
                  <a:lnTo>
                    <a:pt x="260513" y="105142"/>
                  </a:lnTo>
                  <a:lnTo>
                    <a:pt x="267328" y="153734"/>
                  </a:lnTo>
                  <a:lnTo>
                    <a:pt x="260513" y="202325"/>
                  </a:lnTo>
                  <a:lnTo>
                    <a:pt x="241538" y="244526"/>
                  </a:lnTo>
                  <a:lnTo>
                    <a:pt x="212604" y="277805"/>
                  </a:lnTo>
                  <a:lnTo>
                    <a:pt x="175912" y="299629"/>
                  </a:lnTo>
                  <a:lnTo>
                    <a:pt x="133664" y="307467"/>
                  </a:lnTo>
                </a:path>
                <a:path w="802004" h="307975">
                  <a:moveTo>
                    <a:pt x="668319" y="307467"/>
                  </a:moveTo>
                  <a:lnTo>
                    <a:pt x="133664" y="307467"/>
                  </a:lnTo>
                  <a:lnTo>
                    <a:pt x="91415" y="299629"/>
                  </a:lnTo>
                  <a:lnTo>
                    <a:pt x="54723" y="277805"/>
                  </a:lnTo>
                  <a:lnTo>
                    <a:pt x="25789" y="244526"/>
                  </a:lnTo>
                  <a:lnTo>
                    <a:pt x="6814" y="202325"/>
                  </a:lnTo>
                  <a:lnTo>
                    <a:pt x="0" y="153734"/>
                  </a:lnTo>
                  <a:lnTo>
                    <a:pt x="6814" y="105142"/>
                  </a:lnTo>
                  <a:lnTo>
                    <a:pt x="25789" y="62940"/>
                  </a:lnTo>
                  <a:lnTo>
                    <a:pt x="54723" y="29661"/>
                  </a:lnTo>
                  <a:lnTo>
                    <a:pt x="91415" y="7837"/>
                  </a:lnTo>
                  <a:lnTo>
                    <a:pt x="133664" y="0"/>
                  </a:lnTo>
                  <a:lnTo>
                    <a:pt x="668319" y="0"/>
                  </a:lnTo>
                  <a:lnTo>
                    <a:pt x="710567" y="7837"/>
                  </a:lnTo>
                  <a:lnTo>
                    <a:pt x="747259" y="29661"/>
                  </a:lnTo>
                  <a:lnTo>
                    <a:pt x="776194" y="62940"/>
                  </a:lnTo>
                  <a:lnTo>
                    <a:pt x="795169" y="105142"/>
                  </a:lnTo>
                  <a:lnTo>
                    <a:pt x="801983" y="153734"/>
                  </a:lnTo>
                  <a:lnTo>
                    <a:pt x="795169" y="202325"/>
                  </a:lnTo>
                  <a:lnTo>
                    <a:pt x="776194" y="244526"/>
                  </a:lnTo>
                  <a:lnTo>
                    <a:pt x="747259" y="277805"/>
                  </a:lnTo>
                  <a:lnTo>
                    <a:pt x="710567" y="299629"/>
                  </a:lnTo>
                  <a:lnTo>
                    <a:pt x="668319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6438900" y="3311004"/>
              <a:ext cx="783590" cy="307975"/>
            </a:xfrm>
            <a:custGeom>
              <a:avLst/>
              <a:gdLst/>
              <a:ahLst/>
              <a:cxnLst/>
              <a:rect l="l" t="t" r="r" b="b"/>
              <a:pathLst>
                <a:path w="783590" h="307975">
                  <a:moveTo>
                    <a:pt x="652868" y="0"/>
                  </a:moveTo>
                  <a:lnTo>
                    <a:pt x="130568" y="0"/>
                  </a:lnTo>
                  <a:lnTo>
                    <a:pt x="89299" y="7837"/>
                  </a:lnTo>
                  <a:lnTo>
                    <a:pt x="53456" y="29663"/>
                  </a:lnTo>
                  <a:lnTo>
                    <a:pt x="25192" y="62942"/>
                  </a:lnTo>
                  <a:lnTo>
                    <a:pt x="6656" y="105143"/>
                  </a:lnTo>
                  <a:lnTo>
                    <a:pt x="0" y="153733"/>
                  </a:lnTo>
                  <a:lnTo>
                    <a:pt x="6656" y="202328"/>
                  </a:lnTo>
                  <a:lnTo>
                    <a:pt x="25192" y="244529"/>
                  </a:lnTo>
                  <a:lnTo>
                    <a:pt x="53456" y="277807"/>
                  </a:lnTo>
                  <a:lnTo>
                    <a:pt x="89299" y="299630"/>
                  </a:lnTo>
                  <a:lnTo>
                    <a:pt x="130568" y="307467"/>
                  </a:lnTo>
                  <a:lnTo>
                    <a:pt x="652868" y="307467"/>
                  </a:lnTo>
                  <a:lnTo>
                    <a:pt x="694138" y="299630"/>
                  </a:lnTo>
                  <a:lnTo>
                    <a:pt x="729980" y="277807"/>
                  </a:lnTo>
                  <a:lnTo>
                    <a:pt x="758245" y="244529"/>
                  </a:lnTo>
                  <a:lnTo>
                    <a:pt x="776781" y="202328"/>
                  </a:lnTo>
                  <a:lnTo>
                    <a:pt x="783437" y="153733"/>
                  </a:lnTo>
                  <a:lnTo>
                    <a:pt x="776781" y="105143"/>
                  </a:lnTo>
                  <a:lnTo>
                    <a:pt x="758245" y="62942"/>
                  </a:lnTo>
                  <a:lnTo>
                    <a:pt x="729980" y="29663"/>
                  </a:lnTo>
                  <a:lnTo>
                    <a:pt x="694138" y="7837"/>
                  </a:lnTo>
                  <a:lnTo>
                    <a:pt x="6528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6438892" y="3311004"/>
              <a:ext cx="783590" cy="307975"/>
            </a:xfrm>
            <a:custGeom>
              <a:avLst/>
              <a:gdLst/>
              <a:ahLst/>
              <a:cxnLst/>
              <a:rect l="l" t="t" r="r" b="b"/>
              <a:pathLst>
                <a:path w="783590" h="307975">
                  <a:moveTo>
                    <a:pt x="130574" y="0"/>
                  </a:moveTo>
                  <a:lnTo>
                    <a:pt x="171845" y="7837"/>
                  </a:lnTo>
                  <a:lnTo>
                    <a:pt x="207689" y="29661"/>
                  </a:lnTo>
                  <a:lnTo>
                    <a:pt x="235954" y="62940"/>
                  </a:lnTo>
                  <a:lnTo>
                    <a:pt x="254491" y="105142"/>
                  </a:lnTo>
                  <a:lnTo>
                    <a:pt x="261148" y="153734"/>
                  </a:lnTo>
                  <a:lnTo>
                    <a:pt x="254491" y="202325"/>
                  </a:lnTo>
                  <a:lnTo>
                    <a:pt x="235954" y="244526"/>
                  </a:lnTo>
                  <a:lnTo>
                    <a:pt x="207689" y="277805"/>
                  </a:lnTo>
                  <a:lnTo>
                    <a:pt x="171845" y="299629"/>
                  </a:lnTo>
                  <a:lnTo>
                    <a:pt x="130574" y="307467"/>
                  </a:lnTo>
                </a:path>
                <a:path w="783590" h="307975">
                  <a:moveTo>
                    <a:pt x="652871" y="307467"/>
                  </a:moveTo>
                  <a:lnTo>
                    <a:pt x="130574" y="307467"/>
                  </a:lnTo>
                  <a:lnTo>
                    <a:pt x="89302" y="299629"/>
                  </a:lnTo>
                  <a:lnTo>
                    <a:pt x="53458" y="277805"/>
                  </a:lnTo>
                  <a:lnTo>
                    <a:pt x="25193" y="244526"/>
                  </a:lnTo>
                  <a:lnTo>
                    <a:pt x="6656" y="202325"/>
                  </a:lnTo>
                  <a:lnTo>
                    <a:pt x="0" y="153734"/>
                  </a:lnTo>
                  <a:lnTo>
                    <a:pt x="6656" y="105142"/>
                  </a:lnTo>
                  <a:lnTo>
                    <a:pt x="25193" y="62940"/>
                  </a:lnTo>
                  <a:lnTo>
                    <a:pt x="53458" y="29661"/>
                  </a:lnTo>
                  <a:lnTo>
                    <a:pt x="89302" y="7837"/>
                  </a:lnTo>
                  <a:lnTo>
                    <a:pt x="130574" y="0"/>
                  </a:lnTo>
                  <a:lnTo>
                    <a:pt x="652871" y="0"/>
                  </a:lnTo>
                  <a:lnTo>
                    <a:pt x="694142" y="7837"/>
                  </a:lnTo>
                  <a:lnTo>
                    <a:pt x="729986" y="29661"/>
                  </a:lnTo>
                  <a:lnTo>
                    <a:pt x="758252" y="62940"/>
                  </a:lnTo>
                  <a:lnTo>
                    <a:pt x="776788" y="105142"/>
                  </a:lnTo>
                  <a:lnTo>
                    <a:pt x="783445" y="153734"/>
                  </a:lnTo>
                  <a:lnTo>
                    <a:pt x="776788" y="202325"/>
                  </a:lnTo>
                  <a:lnTo>
                    <a:pt x="758252" y="244526"/>
                  </a:lnTo>
                  <a:lnTo>
                    <a:pt x="729986" y="277805"/>
                  </a:lnTo>
                  <a:lnTo>
                    <a:pt x="694142" y="299629"/>
                  </a:lnTo>
                  <a:lnTo>
                    <a:pt x="652871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5981687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668324" y="0"/>
                  </a:moveTo>
                  <a:lnTo>
                    <a:pt x="133667" y="0"/>
                  </a:lnTo>
                  <a:lnTo>
                    <a:pt x="91422" y="7837"/>
                  </a:lnTo>
                  <a:lnTo>
                    <a:pt x="54729" y="29663"/>
                  </a:lnTo>
                  <a:lnTo>
                    <a:pt x="25792" y="62942"/>
                  </a:lnTo>
                  <a:lnTo>
                    <a:pt x="6815" y="105143"/>
                  </a:lnTo>
                  <a:lnTo>
                    <a:pt x="0" y="153733"/>
                  </a:lnTo>
                  <a:lnTo>
                    <a:pt x="6815" y="202328"/>
                  </a:lnTo>
                  <a:lnTo>
                    <a:pt x="25792" y="244529"/>
                  </a:lnTo>
                  <a:lnTo>
                    <a:pt x="54729" y="277807"/>
                  </a:lnTo>
                  <a:lnTo>
                    <a:pt x="91422" y="299630"/>
                  </a:lnTo>
                  <a:lnTo>
                    <a:pt x="133667" y="307467"/>
                  </a:lnTo>
                  <a:lnTo>
                    <a:pt x="668324" y="307467"/>
                  </a:lnTo>
                  <a:lnTo>
                    <a:pt x="710575" y="299630"/>
                  </a:lnTo>
                  <a:lnTo>
                    <a:pt x="747268" y="277807"/>
                  </a:lnTo>
                  <a:lnTo>
                    <a:pt x="776202" y="244529"/>
                  </a:lnTo>
                  <a:lnTo>
                    <a:pt x="795178" y="202328"/>
                  </a:lnTo>
                  <a:lnTo>
                    <a:pt x="801992" y="153733"/>
                  </a:lnTo>
                  <a:lnTo>
                    <a:pt x="795178" y="105143"/>
                  </a:lnTo>
                  <a:lnTo>
                    <a:pt x="776202" y="62942"/>
                  </a:lnTo>
                  <a:lnTo>
                    <a:pt x="747268" y="29663"/>
                  </a:lnTo>
                  <a:lnTo>
                    <a:pt x="710575" y="7837"/>
                  </a:lnTo>
                  <a:lnTo>
                    <a:pt x="6683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5981696" y="3311004"/>
              <a:ext cx="802005" cy="307975"/>
            </a:xfrm>
            <a:custGeom>
              <a:avLst/>
              <a:gdLst/>
              <a:ahLst/>
              <a:cxnLst/>
              <a:rect l="l" t="t" r="r" b="b"/>
              <a:pathLst>
                <a:path w="802004" h="307975">
                  <a:moveTo>
                    <a:pt x="133664" y="0"/>
                  </a:moveTo>
                  <a:lnTo>
                    <a:pt x="175912" y="7837"/>
                  </a:lnTo>
                  <a:lnTo>
                    <a:pt x="212604" y="29661"/>
                  </a:lnTo>
                  <a:lnTo>
                    <a:pt x="241538" y="62940"/>
                  </a:lnTo>
                  <a:lnTo>
                    <a:pt x="260513" y="105142"/>
                  </a:lnTo>
                  <a:lnTo>
                    <a:pt x="267328" y="153734"/>
                  </a:lnTo>
                  <a:lnTo>
                    <a:pt x="260513" y="202325"/>
                  </a:lnTo>
                  <a:lnTo>
                    <a:pt x="241538" y="244526"/>
                  </a:lnTo>
                  <a:lnTo>
                    <a:pt x="212604" y="277805"/>
                  </a:lnTo>
                  <a:lnTo>
                    <a:pt x="175912" y="299629"/>
                  </a:lnTo>
                  <a:lnTo>
                    <a:pt x="133664" y="307467"/>
                  </a:lnTo>
                </a:path>
                <a:path w="802004" h="307975">
                  <a:moveTo>
                    <a:pt x="668319" y="307467"/>
                  </a:moveTo>
                  <a:lnTo>
                    <a:pt x="133664" y="307467"/>
                  </a:lnTo>
                  <a:lnTo>
                    <a:pt x="91415" y="299629"/>
                  </a:lnTo>
                  <a:lnTo>
                    <a:pt x="54723" y="277805"/>
                  </a:lnTo>
                  <a:lnTo>
                    <a:pt x="25789" y="244526"/>
                  </a:lnTo>
                  <a:lnTo>
                    <a:pt x="6814" y="202325"/>
                  </a:lnTo>
                  <a:lnTo>
                    <a:pt x="0" y="153734"/>
                  </a:lnTo>
                  <a:lnTo>
                    <a:pt x="6814" y="105142"/>
                  </a:lnTo>
                  <a:lnTo>
                    <a:pt x="25789" y="62940"/>
                  </a:lnTo>
                  <a:lnTo>
                    <a:pt x="54723" y="29661"/>
                  </a:lnTo>
                  <a:lnTo>
                    <a:pt x="91415" y="7837"/>
                  </a:lnTo>
                  <a:lnTo>
                    <a:pt x="133664" y="0"/>
                  </a:lnTo>
                  <a:lnTo>
                    <a:pt x="668319" y="0"/>
                  </a:lnTo>
                  <a:lnTo>
                    <a:pt x="710567" y="7837"/>
                  </a:lnTo>
                  <a:lnTo>
                    <a:pt x="747259" y="29661"/>
                  </a:lnTo>
                  <a:lnTo>
                    <a:pt x="776194" y="62940"/>
                  </a:lnTo>
                  <a:lnTo>
                    <a:pt x="795169" y="105142"/>
                  </a:lnTo>
                  <a:lnTo>
                    <a:pt x="801983" y="153734"/>
                  </a:lnTo>
                  <a:lnTo>
                    <a:pt x="795169" y="202325"/>
                  </a:lnTo>
                  <a:lnTo>
                    <a:pt x="776194" y="244526"/>
                  </a:lnTo>
                  <a:lnTo>
                    <a:pt x="747259" y="277805"/>
                  </a:lnTo>
                  <a:lnTo>
                    <a:pt x="710567" y="299629"/>
                  </a:lnTo>
                  <a:lnTo>
                    <a:pt x="668319" y="30746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/>
          <p:nvPr/>
        </p:nvSpPr>
        <p:spPr>
          <a:xfrm>
            <a:off x="8742730" y="1606562"/>
            <a:ext cx="252006" cy="2519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8810790" y="1601724"/>
            <a:ext cx="11557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400">
              <a:latin typeface="Trebuchet MS"/>
              <a:cs typeface="Trebuchet M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9497568" y="1938527"/>
            <a:ext cx="463296" cy="4632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0070592" y="1938527"/>
            <a:ext cx="466344" cy="46329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921495" y="1938527"/>
            <a:ext cx="463296" cy="46329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9202851" y="2475483"/>
            <a:ext cx="105283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000" spc="-55">
                <a:latin typeface="Trebuchet MS"/>
                <a:cs typeface="Trebuchet MS"/>
              </a:rPr>
              <a:t>Ek</a:t>
            </a:r>
            <a:r>
              <a:rPr sz="1000" spc="-20">
                <a:latin typeface="Trebuchet MS"/>
                <a:cs typeface="Trebuchet MS"/>
              </a:rPr>
              <a:t>s</a:t>
            </a:r>
            <a:r>
              <a:rPr sz="1000" spc="-50">
                <a:latin typeface="Trebuchet MS"/>
                <a:cs typeface="Trebuchet MS"/>
              </a:rPr>
              <a:t>p</a:t>
            </a:r>
            <a:r>
              <a:rPr sz="1000" spc="-40">
                <a:latin typeface="Trebuchet MS"/>
                <a:cs typeface="Trebuchet MS"/>
              </a:rPr>
              <a:t>er</a:t>
            </a:r>
            <a:r>
              <a:rPr sz="1000" spc="-65">
                <a:latin typeface="Trebuchet MS"/>
                <a:cs typeface="Trebuchet MS"/>
              </a:rPr>
              <a:t>i</a:t>
            </a:r>
            <a:r>
              <a:rPr sz="1000" spc="-35">
                <a:latin typeface="Trebuchet MS"/>
                <a:cs typeface="Trebuchet MS"/>
              </a:rPr>
              <a:t>m</a:t>
            </a:r>
            <a:r>
              <a:rPr sz="1000" spc="-50">
                <a:latin typeface="Trebuchet MS"/>
                <a:cs typeface="Trebuchet MS"/>
              </a:rPr>
              <a:t>e</a:t>
            </a:r>
            <a:r>
              <a:rPr sz="1000" spc="-55">
                <a:latin typeface="Trebuchet MS"/>
                <a:cs typeface="Trebuchet MS"/>
              </a:rPr>
              <a:t>n</a:t>
            </a:r>
            <a:r>
              <a:rPr sz="1000" spc="-35">
                <a:latin typeface="Trebuchet MS"/>
                <a:cs typeface="Trebuchet MS"/>
              </a:rPr>
              <a:t>t</a:t>
            </a:r>
            <a:r>
              <a:rPr sz="1000" spc="-20">
                <a:latin typeface="Trebuchet MS"/>
                <a:cs typeface="Trebuchet MS"/>
              </a:rPr>
              <a:t>s</a:t>
            </a:r>
            <a:r>
              <a:rPr sz="1000" spc="-65">
                <a:latin typeface="Trebuchet MS"/>
                <a:cs typeface="Trebuchet MS"/>
              </a:rPr>
              <a:t>t</a:t>
            </a:r>
            <a:r>
              <a:rPr sz="1000" spc="-50">
                <a:latin typeface="Trebuchet MS"/>
                <a:cs typeface="Trebuchet MS"/>
              </a:rPr>
              <a:t>y</a:t>
            </a:r>
            <a:r>
              <a:rPr sz="1000" spc="-40">
                <a:latin typeface="Trebuchet MS"/>
                <a:cs typeface="Trebuchet MS"/>
              </a:rPr>
              <a:t>r</a:t>
            </a:r>
            <a:r>
              <a:rPr sz="1000" spc="-65">
                <a:latin typeface="Trebuchet MS"/>
                <a:cs typeface="Trebuchet MS"/>
              </a:rPr>
              <a:t>i</a:t>
            </a:r>
            <a:r>
              <a:rPr sz="1000" spc="-35">
                <a:latin typeface="Trebuchet MS"/>
                <a:cs typeface="Trebuchet MS"/>
              </a:rPr>
              <a:t>n</a:t>
            </a:r>
            <a:r>
              <a:rPr sz="1000" spc="-25">
                <a:latin typeface="Trebuchet MS"/>
                <a:cs typeface="Trebuchet MS"/>
              </a:rPr>
              <a:t>g</a:t>
            </a:r>
            <a:r>
              <a:rPr sz="1000" spc="-105">
                <a:latin typeface="Trebuchet MS"/>
                <a:cs typeface="Trebuchet MS"/>
              </a:rPr>
              <a:t>,  </a:t>
            </a:r>
            <a:r>
              <a:rPr sz="1000" spc="-55">
                <a:latin typeface="Trebuchet MS"/>
                <a:cs typeface="Trebuchet MS"/>
              </a:rPr>
              <a:t>modellbibliotek,  </a:t>
            </a:r>
            <a:r>
              <a:rPr sz="1000" spc="-50">
                <a:latin typeface="Trebuchet MS"/>
                <a:cs typeface="Trebuchet MS"/>
              </a:rPr>
              <a:t>metadataregister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027476" y="6163563"/>
            <a:ext cx="124396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96520">
              <a:lnSpc>
                <a:spcPct val="100000"/>
              </a:lnSpc>
              <a:spcBef>
                <a:spcPts val="100"/>
              </a:spcBef>
            </a:pPr>
            <a:r>
              <a:rPr sz="1000" spc="-40">
                <a:latin typeface="Trebuchet MS"/>
                <a:cs typeface="Trebuchet MS"/>
              </a:rPr>
              <a:t>Modellresultater </a:t>
            </a:r>
            <a:r>
              <a:rPr sz="1000" spc="-25">
                <a:latin typeface="Trebuchet MS"/>
                <a:cs typeface="Trebuchet MS"/>
              </a:rPr>
              <a:t>og  </a:t>
            </a:r>
            <a:r>
              <a:rPr sz="1000" spc="-40">
                <a:latin typeface="Trebuchet MS"/>
                <a:cs typeface="Trebuchet MS"/>
              </a:rPr>
              <a:t>forretningsmessig</a:t>
            </a:r>
            <a:r>
              <a:rPr sz="1000" spc="-120">
                <a:latin typeface="Trebuchet MS"/>
                <a:cs typeface="Trebuchet MS"/>
              </a:rPr>
              <a:t> </a:t>
            </a:r>
            <a:r>
              <a:rPr sz="1000" spc="-60">
                <a:latin typeface="Trebuchet MS"/>
                <a:cs typeface="Trebuchet MS"/>
              </a:rPr>
              <a:t>utfall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3057144" y="1078991"/>
            <a:ext cx="4785360" cy="5218430"/>
            <a:chOff x="3057144" y="1078991"/>
            <a:chExt cx="4785360" cy="5218430"/>
          </a:xfrm>
        </p:grpSpPr>
        <p:sp>
          <p:nvSpPr>
            <p:cNvPr id="41" name="object 41"/>
            <p:cNvSpPr/>
            <p:nvPr/>
          </p:nvSpPr>
          <p:spPr>
            <a:xfrm>
              <a:off x="3057144" y="5401056"/>
              <a:ext cx="758952" cy="758952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3480816" y="5538215"/>
              <a:ext cx="758951" cy="758951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6345935" y="1082039"/>
              <a:ext cx="582167" cy="582167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260335" y="1078991"/>
              <a:ext cx="582168" cy="585215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10471239" y="3111"/>
            <a:ext cx="1720850" cy="1191895"/>
          </a:xfrm>
          <a:prstGeom prst="rect">
            <a:avLst/>
          </a:prstGeom>
          <a:ln w="9525">
            <a:solidFill>
              <a:srgbClr val="000000"/>
            </a:solidFill>
          </a:ln>
        </p:spPr>
        <p:txBody>
          <a:bodyPr vert="horz" wrap="square" lIns="0" tIns="144780" rIns="0" bIns="0" rtlCol="0">
            <a:spAutoFit/>
          </a:bodyPr>
          <a:lstStyle/>
          <a:p>
            <a:pPr marL="195580">
              <a:lnSpc>
                <a:spcPct val="100000"/>
              </a:lnSpc>
              <a:spcBef>
                <a:spcPts val="1140"/>
              </a:spcBef>
            </a:pPr>
            <a:r>
              <a:rPr sz="1400" spc="-25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7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350">
              <a:latin typeface="Trebuchet MS"/>
              <a:cs typeface="Trebuchet MS"/>
            </a:endParaRPr>
          </a:p>
          <a:p>
            <a:pPr marL="140335">
              <a:lnSpc>
                <a:spcPct val="100000"/>
              </a:lnSpc>
            </a:pPr>
            <a:r>
              <a:rPr sz="1000" spc="-45">
                <a:latin typeface="Trebuchet MS"/>
                <a:cs typeface="Trebuchet MS"/>
              </a:rPr>
              <a:t>Automatisert</a:t>
            </a:r>
            <a:r>
              <a:rPr sz="1000" spc="-85">
                <a:latin typeface="Trebuchet MS"/>
                <a:cs typeface="Trebuchet MS"/>
              </a:rPr>
              <a:t> </a:t>
            </a:r>
            <a:r>
              <a:rPr sz="1000" spc="-45">
                <a:latin typeface="Trebuchet MS"/>
                <a:cs typeface="Trebuchet MS"/>
              </a:rPr>
              <a:t>modelltrening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10814304" y="140207"/>
            <a:ext cx="917575" cy="917575"/>
            <a:chOff x="10814304" y="140207"/>
            <a:chExt cx="917575" cy="917575"/>
          </a:xfrm>
        </p:grpSpPr>
        <p:sp>
          <p:nvSpPr>
            <p:cNvPr id="47" name="object 47"/>
            <p:cNvSpPr/>
            <p:nvPr/>
          </p:nvSpPr>
          <p:spPr>
            <a:xfrm>
              <a:off x="11045952" y="353567"/>
              <a:ext cx="490727" cy="487679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10814304" y="140207"/>
              <a:ext cx="917448" cy="917448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0990122" y="4648707"/>
            <a:ext cx="60769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5">
                <a:latin typeface="Trebuchet MS"/>
                <a:cs typeface="Trebuchet MS"/>
              </a:rPr>
              <a:t>S</a:t>
            </a:r>
            <a:r>
              <a:rPr sz="1000" spc="-75">
                <a:latin typeface="Trebuchet MS"/>
                <a:cs typeface="Trebuchet MS"/>
              </a:rPr>
              <a:t>l</a:t>
            </a:r>
            <a:r>
              <a:rPr sz="1000" spc="-55">
                <a:latin typeface="Trebuchet MS"/>
                <a:cs typeface="Trebuchet MS"/>
              </a:rPr>
              <a:t>u</a:t>
            </a:r>
            <a:r>
              <a:rPr sz="1000" spc="-35">
                <a:latin typeface="Trebuchet MS"/>
                <a:cs typeface="Trebuchet MS"/>
              </a:rPr>
              <a:t>t</a:t>
            </a:r>
            <a:r>
              <a:rPr sz="1000" spc="-65">
                <a:latin typeface="Trebuchet MS"/>
                <a:cs typeface="Trebuchet MS"/>
              </a:rPr>
              <a:t>t</a:t>
            </a:r>
            <a:r>
              <a:rPr sz="1000" spc="-50">
                <a:latin typeface="Trebuchet MS"/>
                <a:cs typeface="Trebuchet MS"/>
              </a:rPr>
              <a:t>b</a:t>
            </a:r>
            <a:r>
              <a:rPr sz="1000" spc="-30">
                <a:latin typeface="Trebuchet MS"/>
                <a:cs typeface="Trebuchet MS"/>
              </a:rPr>
              <a:t>r</a:t>
            </a:r>
            <a:r>
              <a:rPr sz="1000" spc="-45">
                <a:latin typeface="Trebuchet MS"/>
                <a:cs typeface="Trebuchet MS"/>
              </a:rPr>
              <a:t>uk</a:t>
            </a:r>
            <a:r>
              <a:rPr sz="1000" spc="-50">
                <a:latin typeface="Trebuchet MS"/>
                <a:cs typeface="Trebuchet MS"/>
              </a:rPr>
              <a:t>e</a:t>
            </a:r>
            <a:r>
              <a:rPr sz="1000" spc="-40">
                <a:latin typeface="Trebuchet MS"/>
                <a:cs typeface="Trebuchet MS"/>
              </a:rPr>
              <a:t>r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0835640" y="3803903"/>
            <a:ext cx="917448" cy="91744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8308873" y="4654803"/>
            <a:ext cx="105410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latin typeface="Trebuchet MS"/>
                <a:cs typeface="Trebuchet MS"/>
              </a:rPr>
              <a:t>Modell </a:t>
            </a:r>
            <a:r>
              <a:rPr sz="1000" spc="-60">
                <a:latin typeface="Trebuchet MS"/>
                <a:cs typeface="Trebuchet MS"/>
              </a:rPr>
              <a:t>i</a:t>
            </a:r>
            <a:r>
              <a:rPr sz="1000" spc="-204">
                <a:latin typeface="Trebuchet MS"/>
                <a:cs typeface="Trebuchet MS"/>
              </a:rPr>
              <a:t> </a:t>
            </a:r>
            <a:r>
              <a:rPr sz="1000" spc="-40">
                <a:latin typeface="Trebuchet MS"/>
                <a:cs typeface="Trebuchet MS"/>
              </a:rPr>
              <a:t>produksjon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8375904" y="3880103"/>
            <a:ext cx="917448" cy="917448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6768007" y="2307843"/>
            <a:ext cx="68008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latin typeface="Trebuchet MS"/>
                <a:cs typeface="Trebuchet MS"/>
              </a:rPr>
              <a:t>A</a:t>
            </a:r>
            <a:r>
              <a:rPr sz="1000" spc="-40">
                <a:latin typeface="Trebuchet MS"/>
                <a:cs typeface="Trebuchet MS"/>
              </a:rPr>
              <a:t>na</a:t>
            </a:r>
            <a:r>
              <a:rPr sz="1000" spc="-75">
                <a:latin typeface="Trebuchet MS"/>
                <a:cs typeface="Trebuchet MS"/>
              </a:rPr>
              <a:t>l</a:t>
            </a:r>
            <a:r>
              <a:rPr sz="1000" spc="-50">
                <a:latin typeface="Trebuchet MS"/>
                <a:cs typeface="Trebuchet MS"/>
              </a:rPr>
              <a:t>y</a:t>
            </a:r>
            <a:r>
              <a:rPr sz="1000" spc="-20">
                <a:latin typeface="Trebuchet MS"/>
                <a:cs typeface="Trebuchet MS"/>
              </a:rPr>
              <a:t>s</a:t>
            </a:r>
            <a:r>
              <a:rPr sz="1000" spc="-50">
                <a:latin typeface="Trebuchet MS"/>
                <a:cs typeface="Trebuchet MS"/>
              </a:rPr>
              <a:t>e</a:t>
            </a:r>
            <a:r>
              <a:rPr sz="1000" spc="-35">
                <a:latin typeface="Trebuchet MS"/>
                <a:cs typeface="Trebuchet MS"/>
              </a:rPr>
              <a:t>m</a:t>
            </a:r>
            <a:r>
              <a:rPr sz="1000" spc="-65">
                <a:latin typeface="Trebuchet MS"/>
                <a:cs typeface="Trebuchet MS"/>
              </a:rPr>
              <a:t>i</a:t>
            </a:r>
            <a:r>
              <a:rPr sz="1000" spc="-75">
                <a:latin typeface="Trebuchet MS"/>
                <a:cs typeface="Trebuchet MS"/>
              </a:rPr>
              <a:t>l</a:t>
            </a:r>
            <a:r>
              <a:rPr sz="1000" spc="-135">
                <a:latin typeface="Trebuchet MS"/>
                <a:cs typeface="Trebuchet MS"/>
              </a:rPr>
              <a:t>j</a:t>
            </a:r>
            <a:r>
              <a:rPr sz="1000" spc="-20">
                <a:latin typeface="Trebuchet MS"/>
                <a:cs typeface="Trebuchet MS"/>
              </a:rPr>
              <a:t>ø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9448304" y="4281678"/>
            <a:ext cx="1188085" cy="76200"/>
          </a:xfrm>
          <a:custGeom>
            <a:avLst/>
            <a:gdLst/>
            <a:ahLst/>
            <a:cxnLst/>
            <a:rect l="l" t="t" r="r" b="b"/>
            <a:pathLst>
              <a:path w="1188084" h="76200">
                <a:moveTo>
                  <a:pt x="1111796" y="0"/>
                </a:moveTo>
                <a:lnTo>
                  <a:pt x="1111796" y="76200"/>
                </a:lnTo>
                <a:lnTo>
                  <a:pt x="1168946" y="47625"/>
                </a:lnTo>
                <a:lnTo>
                  <a:pt x="1124496" y="47625"/>
                </a:lnTo>
                <a:lnTo>
                  <a:pt x="1124496" y="28575"/>
                </a:lnTo>
                <a:lnTo>
                  <a:pt x="1168946" y="28575"/>
                </a:lnTo>
                <a:lnTo>
                  <a:pt x="1111796" y="0"/>
                </a:lnTo>
                <a:close/>
              </a:path>
              <a:path w="1188084" h="76200">
                <a:moveTo>
                  <a:pt x="1111796" y="28575"/>
                </a:moveTo>
                <a:lnTo>
                  <a:pt x="0" y="28575"/>
                </a:lnTo>
                <a:lnTo>
                  <a:pt x="0" y="47625"/>
                </a:lnTo>
                <a:lnTo>
                  <a:pt x="1111796" y="47625"/>
                </a:lnTo>
                <a:lnTo>
                  <a:pt x="1111796" y="28575"/>
                </a:lnTo>
                <a:close/>
              </a:path>
              <a:path w="1188084" h="76200">
                <a:moveTo>
                  <a:pt x="1168946" y="28575"/>
                </a:moveTo>
                <a:lnTo>
                  <a:pt x="1124496" y="28575"/>
                </a:lnTo>
                <a:lnTo>
                  <a:pt x="1124496" y="47625"/>
                </a:lnTo>
                <a:lnTo>
                  <a:pt x="1168946" y="47625"/>
                </a:lnTo>
                <a:lnTo>
                  <a:pt x="1187996" y="38100"/>
                </a:lnTo>
                <a:lnTo>
                  <a:pt x="1168946" y="28575"/>
                </a:lnTo>
                <a:close/>
              </a:path>
            </a:pathLst>
          </a:custGeom>
          <a:solidFill>
            <a:srgbClr val="6B00A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5" name="object 55"/>
          <p:cNvGrpSpPr/>
          <p:nvPr/>
        </p:nvGrpSpPr>
        <p:grpSpPr>
          <a:xfrm>
            <a:off x="2004060" y="1481327"/>
            <a:ext cx="9297035" cy="4436745"/>
            <a:chOff x="2004060" y="1481327"/>
            <a:chExt cx="9297035" cy="4436745"/>
          </a:xfrm>
        </p:grpSpPr>
        <p:sp>
          <p:nvSpPr>
            <p:cNvPr id="56" name="object 56"/>
            <p:cNvSpPr/>
            <p:nvPr/>
          </p:nvSpPr>
          <p:spPr>
            <a:xfrm>
              <a:off x="6647688" y="1481327"/>
              <a:ext cx="917448" cy="917448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038718" y="2254415"/>
              <a:ext cx="4354195" cy="1941195"/>
            </a:xfrm>
            <a:custGeom>
              <a:avLst/>
              <a:gdLst/>
              <a:ahLst/>
              <a:cxnLst/>
              <a:rect l="l" t="t" r="r" b="b"/>
              <a:pathLst>
                <a:path w="4354195" h="1941195">
                  <a:moveTo>
                    <a:pt x="3152013" y="1928139"/>
                  </a:moveTo>
                  <a:lnTo>
                    <a:pt x="0" y="1928139"/>
                  </a:lnTo>
                  <a:lnTo>
                    <a:pt x="0" y="1940839"/>
                  </a:lnTo>
                  <a:lnTo>
                    <a:pt x="3161868" y="1940839"/>
                  </a:lnTo>
                  <a:lnTo>
                    <a:pt x="3164713" y="1937994"/>
                  </a:lnTo>
                  <a:lnTo>
                    <a:pt x="3164713" y="1934489"/>
                  </a:lnTo>
                  <a:lnTo>
                    <a:pt x="3152013" y="1934489"/>
                  </a:lnTo>
                  <a:lnTo>
                    <a:pt x="3152013" y="1928139"/>
                  </a:lnTo>
                  <a:close/>
                </a:path>
                <a:path w="4354195" h="1941195">
                  <a:moveTo>
                    <a:pt x="4277461" y="31750"/>
                  </a:moveTo>
                  <a:lnTo>
                    <a:pt x="3154857" y="31750"/>
                  </a:lnTo>
                  <a:lnTo>
                    <a:pt x="3152013" y="34594"/>
                  </a:lnTo>
                  <a:lnTo>
                    <a:pt x="3152013" y="1934489"/>
                  </a:lnTo>
                  <a:lnTo>
                    <a:pt x="3158363" y="1928139"/>
                  </a:lnTo>
                  <a:lnTo>
                    <a:pt x="3164713" y="1928139"/>
                  </a:lnTo>
                  <a:lnTo>
                    <a:pt x="3164713" y="44450"/>
                  </a:lnTo>
                  <a:lnTo>
                    <a:pt x="3158363" y="44450"/>
                  </a:lnTo>
                  <a:lnTo>
                    <a:pt x="3164713" y="38100"/>
                  </a:lnTo>
                  <a:lnTo>
                    <a:pt x="4277461" y="38100"/>
                  </a:lnTo>
                  <a:lnTo>
                    <a:pt x="4277461" y="31750"/>
                  </a:lnTo>
                  <a:close/>
                </a:path>
                <a:path w="4354195" h="1941195">
                  <a:moveTo>
                    <a:pt x="3164713" y="1928139"/>
                  </a:moveTo>
                  <a:lnTo>
                    <a:pt x="3158363" y="1928139"/>
                  </a:lnTo>
                  <a:lnTo>
                    <a:pt x="3152013" y="1934489"/>
                  </a:lnTo>
                  <a:lnTo>
                    <a:pt x="3164713" y="1934489"/>
                  </a:lnTo>
                  <a:lnTo>
                    <a:pt x="3164713" y="1928139"/>
                  </a:lnTo>
                  <a:close/>
                </a:path>
                <a:path w="4354195" h="1941195">
                  <a:moveTo>
                    <a:pt x="4277461" y="0"/>
                  </a:moveTo>
                  <a:lnTo>
                    <a:pt x="4277461" y="76200"/>
                  </a:lnTo>
                  <a:lnTo>
                    <a:pt x="4340961" y="44450"/>
                  </a:lnTo>
                  <a:lnTo>
                    <a:pt x="4290161" y="44450"/>
                  </a:lnTo>
                  <a:lnTo>
                    <a:pt x="4290161" y="31750"/>
                  </a:lnTo>
                  <a:lnTo>
                    <a:pt x="4340961" y="31750"/>
                  </a:lnTo>
                  <a:lnTo>
                    <a:pt x="4277461" y="0"/>
                  </a:lnTo>
                  <a:close/>
                </a:path>
                <a:path w="4354195" h="1941195">
                  <a:moveTo>
                    <a:pt x="3164713" y="38100"/>
                  </a:moveTo>
                  <a:lnTo>
                    <a:pt x="3158363" y="44450"/>
                  </a:lnTo>
                  <a:lnTo>
                    <a:pt x="3164713" y="44450"/>
                  </a:lnTo>
                  <a:lnTo>
                    <a:pt x="3164713" y="38100"/>
                  </a:lnTo>
                  <a:close/>
                </a:path>
                <a:path w="4354195" h="1941195">
                  <a:moveTo>
                    <a:pt x="4277461" y="38100"/>
                  </a:moveTo>
                  <a:lnTo>
                    <a:pt x="3164713" y="38100"/>
                  </a:lnTo>
                  <a:lnTo>
                    <a:pt x="3164713" y="44450"/>
                  </a:lnTo>
                  <a:lnTo>
                    <a:pt x="4277461" y="44450"/>
                  </a:lnTo>
                  <a:lnTo>
                    <a:pt x="4277461" y="38100"/>
                  </a:lnTo>
                  <a:close/>
                </a:path>
                <a:path w="4354195" h="1941195">
                  <a:moveTo>
                    <a:pt x="4340961" y="31750"/>
                  </a:moveTo>
                  <a:lnTo>
                    <a:pt x="4290161" y="31750"/>
                  </a:lnTo>
                  <a:lnTo>
                    <a:pt x="4290161" y="44450"/>
                  </a:lnTo>
                  <a:lnTo>
                    <a:pt x="4340961" y="44450"/>
                  </a:lnTo>
                  <a:lnTo>
                    <a:pt x="4353661" y="38100"/>
                  </a:lnTo>
                  <a:lnTo>
                    <a:pt x="4340961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004060" y="4343933"/>
              <a:ext cx="5925185" cy="76200"/>
            </a:xfrm>
            <a:custGeom>
              <a:avLst/>
              <a:gdLst/>
              <a:ahLst/>
              <a:cxnLst/>
              <a:rect l="l" t="t" r="r" b="b"/>
              <a:pathLst>
                <a:path w="5925184" h="76200">
                  <a:moveTo>
                    <a:pt x="5848718" y="0"/>
                  </a:moveTo>
                  <a:lnTo>
                    <a:pt x="5848718" y="76199"/>
                  </a:lnTo>
                  <a:lnTo>
                    <a:pt x="5905868" y="47624"/>
                  </a:lnTo>
                  <a:lnTo>
                    <a:pt x="5861418" y="47624"/>
                  </a:lnTo>
                  <a:lnTo>
                    <a:pt x="5861418" y="28574"/>
                  </a:lnTo>
                  <a:lnTo>
                    <a:pt x="5905868" y="28574"/>
                  </a:lnTo>
                  <a:lnTo>
                    <a:pt x="5848718" y="0"/>
                  </a:lnTo>
                  <a:close/>
                </a:path>
                <a:path w="5925184" h="76200">
                  <a:moveTo>
                    <a:pt x="5848718" y="28574"/>
                  </a:moveTo>
                  <a:lnTo>
                    <a:pt x="0" y="28574"/>
                  </a:lnTo>
                  <a:lnTo>
                    <a:pt x="0" y="47624"/>
                  </a:lnTo>
                  <a:lnTo>
                    <a:pt x="5848718" y="47624"/>
                  </a:lnTo>
                  <a:lnTo>
                    <a:pt x="5848718" y="28574"/>
                  </a:lnTo>
                  <a:close/>
                </a:path>
                <a:path w="5925184" h="76200">
                  <a:moveTo>
                    <a:pt x="5905868" y="28574"/>
                  </a:moveTo>
                  <a:lnTo>
                    <a:pt x="5861418" y="28574"/>
                  </a:lnTo>
                  <a:lnTo>
                    <a:pt x="5861418" y="47624"/>
                  </a:lnTo>
                  <a:lnTo>
                    <a:pt x="5905868" y="47624"/>
                  </a:lnTo>
                  <a:lnTo>
                    <a:pt x="5924918" y="38099"/>
                  </a:lnTo>
                  <a:lnTo>
                    <a:pt x="5905868" y="28574"/>
                  </a:lnTo>
                  <a:close/>
                </a:path>
              </a:pathLst>
            </a:custGeom>
            <a:solidFill>
              <a:srgbClr val="6B00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4392942" y="2403182"/>
              <a:ext cx="6908165" cy="3514725"/>
            </a:xfrm>
            <a:custGeom>
              <a:avLst/>
              <a:gdLst/>
              <a:ahLst/>
              <a:cxnLst/>
              <a:rect l="l" t="t" r="r" b="b"/>
              <a:pathLst>
                <a:path w="6908165" h="3514725">
                  <a:moveTo>
                    <a:pt x="4056951" y="1708569"/>
                  </a:moveTo>
                  <a:lnTo>
                    <a:pt x="4044251" y="1702219"/>
                  </a:lnTo>
                  <a:lnTo>
                    <a:pt x="3980751" y="1670469"/>
                  </a:lnTo>
                  <a:lnTo>
                    <a:pt x="3980751" y="1702219"/>
                  </a:lnTo>
                  <a:lnTo>
                    <a:pt x="2444026" y="1702219"/>
                  </a:lnTo>
                  <a:lnTo>
                    <a:pt x="2444026" y="1497571"/>
                  </a:lnTo>
                  <a:lnTo>
                    <a:pt x="2431326" y="1497571"/>
                  </a:lnTo>
                  <a:lnTo>
                    <a:pt x="2431326" y="1712074"/>
                  </a:lnTo>
                  <a:lnTo>
                    <a:pt x="2434171" y="1714919"/>
                  </a:lnTo>
                  <a:lnTo>
                    <a:pt x="3980751" y="1714919"/>
                  </a:lnTo>
                  <a:lnTo>
                    <a:pt x="3980751" y="1746669"/>
                  </a:lnTo>
                  <a:lnTo>
                    <a:pt x="4044251" y="1714919"/>
                  </a:lnTo>
                  <a:lnTo>
                    <a:pt x="4056951" y="1708569"/>
                  </a:lnTo>
                  <a:close/>
                </a:path>
                <a:path w="6908165" h="3514725">
                  <a:moveTo>
                    <a:pt x="4449330" y="2478049"/>
                  </a:moveTo>
                  <a:lnTo>
                    <a:pt x="4436630" y="2478049"/>
                  </a:lnTo>
                  <a:lnTo>
                    <a:pt x="4436630" y="3260382"/>
                  </a:lnTo>
                  <a:lnTo>
                    <a:pt x="76200" y="3260382"/>
                  </a:lnTo>
                  <a:lnTo>
                    <a:pt x="76200" y="3228632"/>
                  </a:lnTo>
                  <a:lnTo>
                    <a:pt x="0" y="3266732"/>
                  </a:lnTo>
                  <a:lnTo>
                    <a:pt x="76200" y="3304832"/>
                  </a:lnTo>
                  <a:lnTo>
                    <a:pt x="76200" y="3273082"/>
                  </a:lnTo>
                  <a:lnTo>
                    <a:pt x="4446486" y="3273082"/>
                  </a:lnTo>
                  <a:lnTo>
                    <a:pt x="4449330" y="3270237"/>
                  </a:lnTo>
                  <a:lnTo>
                    <a:pt x="4449330" y="3266732"/>
                  </a:lnTo>
                  <a:lnTo>
                    <a:pt x="4449330" y="3260382"/>
                  </a:lnTo>
                  <a:lnTo>
                    <a:pt x="4449330" y="2478049"/>
                  </a:lnTo>
                  <a:close/>
                </a:path>
                <a:path w="6908165" h="3514725">
                  <a:moveTo>
                    <a:pt x="4475797" y="329996"/>
                  </a:moveTo>
                  <a:lnTo>
                    <a:pt x="4463097" y="323646"/>
                  </a:lnTo>
                  <a:lnTo>
                    <a:pt x="4399597" y="291896"/>
                  </a:lnTo>
                  <a:lnTo>
                    <a:pt x="4399597" y="323646"/>
                  </a:lnTo>
                  <a:lnTo>
                    <a:pt x="3899154" y="323646"/>
                  </a:lnTo>
                  <a:lnTo>
                    <a:pt x="3899154" y="12700"/>
                  </a:lnTo>
                  <a:lnTo>
                    <a:pt x="3899154" y="6350"/>
                  </a:lnTo>
                  <a:lnTo>
                    <a:pt x="3899154" y="2844"/>
                  </a:lnTo>
                  <a:lnTo>
                    <a:pt x="3896309" y="0"/>
                  </a:lnTo>
                  <a:lnTo>
                    <a:pt x="3309810" y="0"/>
                  </a:lnTo>
                  <a:lnTo>
                    <a:pt x="3309810" y="12700"/>
                  </a:lnTo>
                  <a:lnTo>
                    <a:pt x="3886454" y="12700"/>
                  </a:lnTo>
                  <a:lnTo>
                    <a:pt x="3886454" y="333502"/>
                  </a:lnTo>
                  <a:lnTo>
                    <a:pt x="3889298" y="336346"/>
                  </a:lnTo>
                  <a:lnTo>
                    <a:pt x="4399597" y="336346"/>
                  </a:lnTo>
                  <a:lnTo>
                    <a:pt x="4399597" y="368096"/>
                  </a:lnTo>
                  <a:lnTo>
                    <a:pt x="4463097" y="336346"/>
                  </a:lnTo>
                  <a:lnTo>
                    <a:pt x="4475797" y="329996"/>
                  </a:lnTo>
                  <a:close/>
                </a:path>
                <a:path w="6908165" h="3514725">
                  <a:moveTo>
                    <a:pt x="5342521" y="606996"/>
                  </a:moveTo>
                  <a:lnTo>
                    <a:pt x="5329821" y="606996"/>
                  </a:lnTo>
                  <a:lnTo>
                    <a:pt x="5329821" y="1071613"/>
                  </a:lnTo>
                  <a:lnTo>
                    <a:pt x="3632911" y="1071613"/>
                  </a:lnTo>
                  <a:lnTo>
                    <a:pt x="3632911" y="1039863"/>
                  </a:lnTo>
                  <a:lnTo>
                    <a:pt x="3556711" y="1077963"/>
                  </a:lnTo>
                  <a:lnTo>
                    <a:pt x="3632911" y="1116063"/>
                  </a:lnTo>
                  <a:lnTo>
                    <a:pt x="3632911" y="1084313"/>
                  </a:lnTo>
                  <a:lnTo>
                    <a:pt x="5339677" y="1084313"/>
                  </a:lnTo>
                  <a:lnTo>
                    <a:pt x="5342521" y="1081468"/>
                  </a:lnTo>
                  <a:lnTo>
                    <a:pt x="5342521" y="1077963"/>
                  </a:lnTo>
                  <a:lnTo>
                    <a:pt x="5342521" y="1071613"/>
                  </a:lnTo>
                  <a:lnTo>
                    <a:pt x="5342521" y="606996"/>
                  </a:lnTo>
                  <a:close/>
                </a:path>
                <a:path w="6908165" h="3514725">
                  <a:moveTo>
                    <a:pt x="6907543" y="2472131"/>
                  </a:moveTo>
                  <a:lnTo>
                    <a:pt x="6894843" y="2472131"/>
                  </a:lnTo>
                  <a:lnTo>
                    <a:pt x="6894843" y="3470021"/>
                  </a:lnTo>
                  <a:lnTo>
                    <a:pt x="76200" y="3470021"/>
                  </a:lnTo>
                  <a:lnTo>
                    <a:pt x="76200" y="3438271"/>
                  </a:lnTo>
                  <a:lnTo>
                    <a:pt x="0" y="3476371"/>
                  </a:lnTo>
                  <a:lnTo>
                    <a:pt x="76200" y="3514471"/>
                  </a:lnTo>
                  <a:lnTo>
                    <a:pt x="76200" y="3482721"/>
                  </a:lnTo>
                  <a:lnTo>
                    <a:pt x="6904698" y="3482721"/>
                  </a:lnTo>
                  <a:lnTo>
                    <a:pt x="6907543" y="3479876"/>
                  </a:lnTo>
                  <a:lnTo>
                    <a:pt x="6907543" y="3476371"/>
                  </a:lnTo>
                  <a:lnTo>
                    <a:pt x="6907543" y="3470021"/>
                  </a:lnTo>
                  <a:lnTo>
                    <a:pt x="6907543" y="2472131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9345167" y="3450335"/>
              <a:ext cx="323088" cy="329183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9189719" y="3307079"/>
              <a:ext cx="606551" cy="615696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7994904" y="3834383"/>
              <a:ext cx="323088" cy="326136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7842504" y="3688079"/>
              <a:ext cx="606551" cy="615695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3996372" y="2022243"/>
              <a:ext cx="966469" cy="3380104"/>
            </a:xfrm>
            <a:custGeom>
              <a:avLst/>
              <a:gdLst/>
              <a:ahLst/>
              <a:cxnLst/>
              <a:rect l="l" t="t" r="r" b="b"/>
              <a:pathLst>
                <a:path w="966470" h="3380104">
                  <a:moveTo>
                    <a:pt x="0" y="3380031"/>
                  </a:moveTo>
                  <a:lnTo>
                    <a:pt x="0" y="1941691"/>
                  </a:lnTo>
                  <a:lnTo>
                    <a:pt x="966347" y="1941691"/>
                  </a:lnTo>
                  <a:lnTo>
                    <a:pt x="966347" y="0"/>
                  </a:lnTo>
                </a:path>
              </a:pathLst>
            </a:custGeom>
            <a:ln w="12700">
              <a:solidFill>
                <a:srgbClr val="B7B1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4953495" y="1984133"/>
              <a:ext cx="1483995" cy="76200"/>
            </a:xfrm>
            <a:custGeom>
              <a:avLst/>
              <a:gdLst/>
              <a:ahLst/>
              <a:cxnLst/>
              <a:rect l="l" t="t" r="r" b="b"/>
              <a:pathLst>
                <a:path w="1483995" h="76200">
                  <a:moveTo>
                    <a:pt x="38100" y="31750"/>
                  </a:moveTo>
                  <a:lnTo>
                    <a:pt x="0" y="31750"/>
                  </a:lnTo>
                  <a:lnTo>
                    <a:pt x="0" y="44450"/>
                  </a:lnTo>
                  <a:lnTo>
                    <a:pt x="38100" y="44450"/>
                  </a:lnTo>
                  <a:lnTo>
                    <a:pt x="38100" y="31750"/>
                  </a:lnTo>
                  <a:close/>
                </a:path>
                <a:path w="1483995" h="76200">
                  <a:moveTo>
                    <a:pt x="88900" y="31750"/>
                  </a:moveTo>
                  <a:lnTo>
                    <a:pt x="50800" y="31750"/>
                  </a:lnTo>
                  <a:lnTo>
                    <a:pt x="50800" y="44450"/>
                  </a:lnTo>
                  <a:lnTo>
                    <a:pt x="88900" y="44450"/>
                  </a:lnTo>
                  <a:lnTo>
                    <a:pt x="88900" y="31750"/>
                  </a:lnTo>
                  <a:close/>
                </a:path>
                <a:path w="1483995" h="76200">
                  <a:moveTo>
                    <a:pt x="139700" y="31750"/>
                  </a:moveTo>
                  <a:lnTo>
                    <a:pt x="101600" y="31750"/>
                  </a:lnTo>
                  <a:lnTo>
                    <a:pt x="101600" y="44450"/>
                  </a:lnTo>
                  <a:lnTo>
                    <a:pt x="139700" y="44450"/>
                  </a:lnTo>
                  <a:lnTo>
                    <a:pt x="139700" y="31750"/>
                  </a:lnTo>
                  <a:close/>
                </a:path>
                <a:path w="1483995" h="76200">
                  <a:moveTo>
                    <a:pt x="190500" y="31750"/>
                  </a:moveTo>
                  <a:lnTo>
                    <a:pt x="152400" y="31750"/>
                  </a:lnTo>
                  <a:lnTo>
                    <a:pt x="152400" y="44450"/>
                  </a:lnTo>
                  <a:lnTo>
                    <a:pt x="190500" y="44450"/>
                  </a:lnTo>
                  <a:lnTo>
                    <a:pt x="190500" y="31750"/>
                  </a:lnTo>
                  <a:close/>
                </a:path>
                <a:path w="1483995" h="76200">
                  <a:moveTo>
                    <a:pt x="241300" y="31750"/>
                  </a:moveTo>
                  <a:lnTo>
                    <a:pt x="203200" y="31750"/>
                  </a:lnTo>
                  <a:lnTo>
                    <a:pt x="203200" y="44450"/>
                  </a:lnTo>
                  <a:lnTo>
                    <a:pt x="241300" y="44450"/>
                  </a:lnTo>
                  <a:lnTo>
                    <a:pt x="241300" y="31750"/>
                  </a:lnTo>
                  <a:close/>
                </a:path>
                <a:path w="1483995" h="76200">
                  <a:moveTo>
                    <a:pt x="292100" y="31750"/>
                  </a:moveTo>
                  <a:lnTo>
                    <a:pt x="254000" y="31750"/>
                  </a:lnTo>
                  <a:lnTo>
                    <a:pt x="254000" y="44450"/>
                  </a:lnTo>
                  <a:lnTo>
                    <a:pt x="292100" y="44450"/>
                  </a:lnTo>
                  <a:lnTo>
                    <a:pt x="292100" y="31750"/>
                  </a:lnTo>
                  <a:close/>
                </a:path>
                <a:path w="1483995" h="76200">
                  <a:moveTo>
                    <a:pt x="342900" y="31750"/>
                  </a:moveTo>
                  <a:lnTo>
                    <a:pt x="304800" y="31750"/>
                  </a:lnTo>
                  <a:lnTo>
                    <a:pt x="304800" y="44450"/>
                  </a:lnTo>
                  <a:lnTo>
                    <a:pt x="342900" y="44450"/>
                  </a:lnTo>
                  <a:lnTo>
                    <a:pt x="342900" y="31750"/>
                  </a:lnTo>
                  <a:close/>
                </a:path>
                <a:path w="1483995" h="76200">
                  <a:moveTo>
                    <a:pt x="393700" y="31750"/>
                  </a:moveTo>
                  <a:lnTo>
                    <a:pt x="355600" y="31750"/>
                  </a:lnTo>
                  <a:lnTo>
                    <a:pt x="355600" y="44450"/>
                  </a:lnTo>
                  <a:lnTo>
                    <a:pt x="393700" y="44450"/>
                  </a:lnTo>
                  <a:lnTo>
                    <a:pt x="393700" y="31750"/>
                  </a:lnTo>
                  <a:close/>
                </a:path>
                <a:path w="1483995" h="76200">
                  <a:moveTo>
                    <a:pt x="444500" y="31750"/>
                  </a:moveTo>
                  <a:lnTo>
                    <a:pt x="406400" y="31750"/>
                  </a:lnTo>
                  <a:lnTo>
                    <a:pt x="406400" y="44450"/>
                  </a:lnTo>
                  <a:lnTo>
                    <a:pt x="444500" y="44450"/>
                  </a:lnTo>
                  <a:lnTo>
                    <a:pt x="444500" y="31750"/>
                  </a:lnTo>
                  <a:close/>
                </a:path>
                <a:path w="1483995" h="76200">
                  <a:moveTo>
                    <a:pt x="495300" y="31750"/>
                  </a:moveTo>
                  <a:lnTo>
                    <a:pt x="457200" y="31750"/>
                  </a:lnTo>
                  <a:lnTo>
                    <a:pt x="457200" y="44450"/>
                  </a:lnTo>
                  <a:lnTo>
                    <a:pt x="495300" y="44450"/>
                  </a:lnTo>
                  <a:lnTo>
                    <a:pt x="495300" y="31750"/>
                  </a:lnTo>
                  <a:close/>
                </a:path>
                <a:path w="1483995" h="76200">
                  <a:moveTo>
                    <a:pt x="546100" y="31750"/>
                  </a:moveTo>
                  <a:lnTo>
                    <a:pt x="508000" y="31750"/>
                  </a:lnTo>
                  <a:lnTo>
                    <a:pt x="508000" y="44450"/>
                  </a:lnTo>
                  <a:lnTo>
                    <a:pt x="546100" y="44450"/>
                  </a:lnTo>
                  <a:lnTo>
                    <a:pt x="546100" y="31750"/>
                  </a:lnTo>
                  <a:close/>
                </a:path>
                <a:path w="1483995" h="76200">
                  <a:moveTo>
                    <a:pt x="596900" y="31750"/>
                  </a:moveTo>
                  <a:lnTo>
                    <a:pt x="558800" y="31750"/>
                  </a:lnTo>
                  <a:lnTo>
                    <a:pt x="558800" y="44450"/>
                  </a:lnTo>
                  <a:lnTo>
                    <a:pt x="596900" y="44450"/>
                  </a:lnTo>
                  <a:lnTo>
                    <a:pt x="596900" y="31750"/>
                  </a:lnTo>
                  <a:close/>
                </a:path>
                <a:path w="1483995" h="76200">
                  <a:moveTo>
                    <a:pt x="647700" y="31750"/>
                  </a:moveTo>
                  <a:lnTo>
                    <a:pt x="609600" y="31750"/>
                  </a:lnTo>
                  <a:lnTo>
                    <a:pt x="609600" y="44450"/>
                  </a:lnTo>
                  <a:lnTo>
                    <a:pt x="647700" y="44450"/>
                  </a:lnTo>
                  <a:lnTo>
                    <a:pt x="647700" y="31750"/>
                  </a:lnTo>
                  <a:close/>
                </a:path>
                <a:path w="1483995" h="76200">
                  <a:moveTo>
                    <a:pt x="698500" y="31750"/>
                  </a:moveTo>
                  <a:lnTo>
                    <a:pt x="660400" y="31750"/>
                  </a:lnTo>
                  <a:lnTo>
                    <a:pt x="660400" y="44450"/>
                  </a:lnTo>
                  <a:lnTo>
                    <a:pt x="698500" y="44450"/>
                  </a:lnTo>
                  <a:lnTo>
                    <a:pt x="698500" y="31750"/>
                  </a:lnTo>
                  <a:close/>
                </a:path>
                <a:path w="1483995" h="76200">
                  <a:moveTo>
                    <a:pt x="749300" y="31750"/>
                  </a:moveTo>
                  <a:lnTo>
                    <a:pt x="711200" y="31750"/>
                  </a:lnTo>
                  <a:lnTo>
                    <a:pt x="711200" y="44450"/>
                  </a:lnTo>
                  <a:lnTo>
                    <a:pt x="749300" y="44450"/>
                  </a:lnTo>
                  <a:lnTo>
                    <a:pt x="749300" y="31750"/>
                  </a:lnTo>
                  <a:close/>
                </a:path>
                <a:path w="1483995" h="76200">
                  <a:moveTo>
                    <a:pt x="800100" y="31750"/>
                  </a:moveTo>
                  <a:lnTo>
                    <a:pt x="762000" y="31750"/>
                  </a:lnTo>
                  <a:lnTo>
                    <a:pt x="762000" y="44450"/>
                  </a:lnTo>
                  <a:lnTo>
                    <a:pt x="800100" y="44450"/>
                  </a:lnTo>
                  <a:lnTo>
                    <a:pt x="800100" y="31750"/>
                  </a:lnTo>
                  <a:close/>
                </a:path>
                <a:path w="1483995" h="76200">
                  <a:moveTo>
                    <a:pt x="850900" y="31750"/>
                  </a:moveTo>
                  <a:lnTo>
                    <a:pt x="812800" y="31750"/>
                  </a:lnTo>
                  <a:lnTo>
                    <a:pt x="812800" y="44450"/>
                  </a:lnTo>
                  <a:lnTo>
                    <a:pt x="850900" y="44450"/>
                  </a:lnTo>
                  <a:lnTo>
                    <a:pt x="850900" y="31750"/>
                  </a:lnTo>
                  <a:close/>
                </a:path>
                <a:path w="1483995" h="76200">
                  <a:moveTo>
                    <a:pt x="901700" y="31750"/>
                  </a:moveTo>
                  <a:lnTo>
                    <a:pt x="863600" y="31750"/>
                  </a:lnTo>
                  <a:lnTo>
                    <a:pt x="863600" y="44450"/>
                  </a:lnTo>
                  <a:lnTo>
                    <a:pt x="901700" y="44450"/>
                  </a:lnTo>
                  <a:lnTo>
                    <a:pt x="901700" y="31750"/>
                  </a:lnTo>
                  <a:close/>
                </a:path>
                <a:path w="1483995" h="76200">
                  <a:moveTo>
                    <a:pt x="952500" y="31750"/>
                  </a:moveTo>
                  <a:lnTo>
                    <a:pt x="914400" y="31750"/>
                  </a:lnTo>
                  <a:lnTo>
                    <a:pt x="914400" y="44450"/>
                  </a:lnTo>
                  <a:lnTo>
                    <a:pt x="952500" y="44450"/>
                  </a:lnTo>
                  <a:lnTo>
                    <a:pt x="952500" y="31750"/>
                  </a:lnTo>
                  <a:close/>
                </a:path>
                <a:path w="1483995" h="76200">
                  <a:moveTo>
                    <a:pt x="1003300" y="31750"/>
                  </a:moveTo>
                  <a:lnTo>
                    <a:pt x="965200" y="31750"/>
                  </a:lnTo>
                  <a:lnTo>
                    <a:pt x="965200" y="44450"/>
                  </a:lnTo>
                  <a:lnTo>
                    <a:pt x="1003300" y="44450"/>
                  </a:lnTo>
                  <a:lnTo>
                    <a:pt x="1003300" y="31750"/>
                  </a:lnTo>
                  <a:close/>
                </a:path>
                <a:path w="1483995" h="76200">
                  <a:moveTo>
                    <a:pt x="1054100" y="31750"/>
                  </a:moveTo>
                  <a:lnTo>
                    <a:pt x="1016000" y="31750"/>
                  </a:lnTo>
                  <a:lnTo>
                    <a:pt x="1016000" y="44450"/>
                  </a:lnTo>
                  <a:lnTo>
                    <a:pt x="1054100" y="44450"/>
                  </a:lnTo>
                  <a:lnTo>
                    <a:pt x="1054100" y="31750"/>
                  </a:lnTo>
                  <a:close/>
                </a:path>
                <a:path w="1483995" h="76200">
                  <a:moveTo>
                    <a:pt x="1104900" y="31750"/>
                  </a:moveTo>
                  <a:lnTo>
                    <a:pt x="1066800" y="31750"/>
                  </a:lnTo>
                  <a:lnTo>
                    <a:pt x="1066800" y="44450"/>
                  </a:lnTo>
                  <a:lnTo>
                    <a:pt x="1104900" y="44450"/>
                  </a:lnTo>
                  <a:lnTo>
                    <a:pt x="1104900" y="31750"/>
                  </a:lnTo>
                  <a:close/>
                </a:path>
                <a:path w="1483995" h="76200">
                  <a:moveTo>
                    <a:pt x="1155700" y="31750"/>
                  </a:moveTo>
                  <a:lnTo>
                    <a:pt x="1117600" y="31750"/>
                  </a:lnTo>
                  <a:lnTo>
                    <a:pt x="1117600" y="44450"/>
                  </a:lnTo>
                  <a:lnTo>
                    <a:pt x="1155700" y="44450"/>
                  </a:lnTo>
                  <a:lnTo>
                    <a:pt x="1155700" y="31750"/>
                  </a:lnTo>
                  <a:close/>
                </a:path>
                <a:path w="1483995" h="76200">
                  <a:moveTo>
                    <a:pt x="1206500" y="31750"/>
                  </a:moveTo>
                  <a:lnTo>
                    <a:pt x="1168400" y="31750"/>
                  </a:lnTo>
                  <a:lnTo>
                    <a:pt x="1168400" y="44450"/>
                  </a:lnTo>
                  <a:lnTo>
                    <a:pt x="1206500" y="44450"/>
                  </a:lnTo>
                  <a:lnTo>
                    <a:pt x="1206500" y="31750"/>
                  </a:lnTo>
                  <a:close/>
                </a:path>
                <a:path w="1483995" h="76200">
                  <a:moveTo>
                    <a:pt x="1257300" y="31750"/>
                  </a:moveTo>
                  <a:lnTo>
                    <a:pt x="1219200" y="31750"/>
                  </a:lnTo>
                  <a:lnTo>
                    <a:pt x="1219200" y="44450"/>
                  </a:lnTo>
                  <a:lnTo>
                    <a:pt x="1257300" y="44450"/>
                  </a:lnTo>
                  <a:lnTo>
                    <a:pt x="1257300" y="31750"/>
                  </a:lnTo>
                  <a:close/>
                </a:path>
                <a:path w="1483995" h="76200">
                  <a:moveTo>
                    <a:pt x="1308100" y="31750"/>
                  </a:moveTo>
                  <a:lnTo>
                    <a:pt x="1270000" y="31750"/>
                  </a:lnTo>
                  <a:lnTo>
                    <a:pt x="1270000" y="44450"/>
                  </a:lnTo>
                  <a:lnTo>
                    <a:pt x="1308100" y="44450"/>
                  </a:lnTo>
                  <a:lnTo>
                    <a:pt x="1308100" y="31750"/>
                  </a:lnTo>
                  <a:close/>
                </a:path>
                <a:path w="1483995" h="76200">
                  <a:moveTo>
                    <a:pt x="1358900" y="31750"/>
                  </a:moveTo>
                  <a:lnTo>
                    <a:pt x="1320800" y="31750"/>
                  </a:lnTo>
                  <a:lnTo>
                    <a:pt x="1320800" y="44450"/>
                  </a:lnTo>
                  <a:lnTo>
                    <a:pt x="1358900" y="44450"/>
                  </a:lnTo>
                  <a:lnTo>
                    <a:pt x="1358900" y="31750"/>
                  </a:lnTo>
                  <a:close/>
                </a:path>
                <a:path w="1483995" h="76200">
                  <a:moveTo>
                    <a:pt x="1407439" y="0"/>
                  </a:moveTo>
                  <a:lnTo>
                    <a:pt x="1407439" y="76200"/>
                  </a:lnTo>
                  <a:lnTo>
                    <a:pt x="1470939" y="44450"/>
                  </a:lnTo>
                  <a:lnTo>
                    <a:pt x="1409700" y="44450"/>
                  </a:lnTo>
                  <a:lnTo>
                    <a:pt x="1409700" y="31750"/>
                  </a:lnTo>
                  <a:lnTo>
                    <a:pt x="1470939" y="31750"/>
                  </a:lnTo>
                  <a:lnTo>
                    <a:pt x="1407439" y="0"/>
                  </a:lnTo>
                  <a:close/>
                </a:path>
                <a:path w="1483995" h="76200">
                  <a:moveTo>
                    <a:pt x="1407439" y="31750"/>
                  </a:moveTo>
                  <a:lnTo>
                    <a:pt x="1371600" y="31750"/>
                  </a:lnTo>
                  <a:lnTo>
                    <a:pt x="1371600" y="44450"/>
                  </a:lnTo>
                  <a:lnTo>
                    <a:pt x="1407439" y="44450"/>
                  </a:lnTo>
                  <a:lnTo>
                    <a:pt x="1407439" y="31750"/>
                  </a:lnTo>
                  <a:close/>
                </a:path>
                <a:path w="1483995" h="76200">
                  <a:moveTo>
                    <a:pt x="1470939" y="31750"/>
                  </a:moveTo>
                  <a:lnTo>
                    <a:pt x="1409700" y="31750"/>
                  </a:lnTo>
                  <a:lnTo>
                    <a:pt x="1409700" y="44450"/>
                  </a:lnTo>
                  <a:lnTo>
                    <a:pt x="1470939" y="44450"/>
                  </a:lnTo>
                  <a:lnTo>
                    <a:pt x="1483639" y="38100"/>
                  </a:lnTo>
                  <a:lnTo>
                    <a:pt x="1470939" y="31750"/>
                  </a:lnTo>
                  <a:close/>
                </a:path>
              </a:pathLst>
            </a:custGeom>
            <a:solidFill>
              <a:srgbClr val="B7B1A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9185872" y="3599230"/>
              <a:ext cx="180009" cy="179997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/>
          <p:nvPr/>
        </p:nvSpPr>
        <p:spPr>
          <a:xfrm>
            <a:off x="1366062" y="1992706"/>
            <a:ext cx="76200" cy="1784985"/>
          </a:xfrm>
          <a:custGeom>
            <a:avLst/>
            <a:gdLst/>
            <a:ahLst/>
            <a:cxnLst/>
            <a:rect l="l" t="t" r="r" b="b"/>
            <a:pathLst>
              <a:path w="76200" h="1784985">
                <a:moveTo>
                  <a:pt x="44450" y="1746834"/>
                </a:moveTo>
                <a:lnTo>
                  <a:pt x="31750" y="1746834"/>
                </a:lnTo>
                <a:lnTo>
                  <a:pt x="31750" y="1784934"/>
                </a:lnTo>
                <a:lnTo>
                  <a:pt x="44450" y="1784934"/>
                </a:lnTo>
                <a:lnTo>
                  <a:pt x="44450" y="1746834"/>
                </a:lnTo>
                <a:close/>
              </a:path>
              <a:path w="76200" h="1784985">
                <a:moveTo>
                  <a:pt x="44450" y="1696034"/>
                </a:moveTo>
                <a:lnTo>
                  <a:pt x="31750" y="1696034"/>
                </a:lnTo>
                <a:lnTo>
                  <a:pt x="31750" y="1734134"/>
                </a:lnTo>
                <a:lnTo>
                  <a:pt x="44450" y="1734134"/>
                </a:lnTo>
                <a:lnTo>
                  <a:pt x="44450" y="1696034"/>
                </a:lnTo>
                <a:close/>
              </a:path>
              <a:path w="76200" h="1784985">
                <a:moveTo>
                  <a:pt x="44450" y="1645234"/>
                </a:moveTo>
                <a:lnTo>
                  <a:pt x="31750" y="1645234"/>
                </a:lnTo>
                <a:lnTo>
                  <a:pt x="31750" y="1683334"/>
                </a:lnTo>
                <a:lnTo>
                  <a:pt x="44450" y="1683334"/>
                </a:lnTo>
                <a:lnTo>
                  <a:pt x="44450" y="1645234"/>
                </a:lnTo>
                <a:close/>
              </a:path>
              <a:path w="76200" h="1784985">
                <a:moveTo>
                  <a:pt x="44450" y="1594434"/>
                </a:moveTo>
                <a:lnTo>
                  <a:pt x="31750" y="1594434"/>
                </a:lnTo>
                <a:lnTo>
                  <a:pt x="31750" y="1632534"/>
                </a:lnTo>
                <a:lnTo>
                  <a:pt x="44450" y="1632534"/>
                </a:lnTo>
                <a:lnTo>
                  <a:pt x="44450" y="1594434"/>
                </a:lnTo>
                <a:close/>
              </a:path>
              <a:path w="76200" h="1784985">
                <a:moveTo>
                  <a:pt x="44450" y="1543634"/>
                </a:moveTo>
                <a:lnTo>
                  <a:pt x="31750" y="1543634"/>
                </a:lnTo>
                <a:lnTo>
                  <a:pt x="31750" y="1581734"/>
                </a:lnTo>
                <a:lnTo>
                  <a:pt x="44450" y="1581734"/>
                </a:lnTo>
                <a:lnTo>
                  <a:pt x="44450" y="1543634"/>
                </a:lnTo>
                <a:close/>
              </a:path>
              <a:path w="76200" h="1784985">
                <a:moveTo>
                  <a:pt x="44450" y="1492834"/>
                </a:moveTo>
                <a:lnTo>
                  <a:pt x="31750" y="1492834"/>
                </a:lnTo>
                <a:lnTo>
                  <a:pt x="31750" y="1530934"/>
                </a:lnTo>
                <a:lnTo>
                  <a:pt x="44450" y="1530934"/>
                </a:lnTo>
                <a:lnTo>
                  <a:pt x="44450" y="1492834"/>
                </a:lnTo>
                <a:close/>
              </a:path>
              <a:path w="76200" h="1784985">
                <a:moveTo>
                  <a:pt x="44450" y="1442034"/>
                </a:moveTo>
                <a:lnTo>
                  <a:pt x="31750" y="1442034"/>
                </a:lnTo>
                <a:lnTo>
                  <a:pt x="31750" y="1480134"/>
                </a:lnTo>
                <a:lnTo>
                  <a:pt x="44450" y="1480134"/>
                </a:lnTo>
                <a:lnTo>
                  <a:pt x="44450" y="1442034"/>
                </a:lnTo>
                <a:close/>
              </a:path>
              <a:path w="76200" h="1784985">
                <a:moveTo>
                  <a:pt x="44450" y="1391234"/>
                </a:moveTo>
                <a:lnTo>
                  <a:pt x="31750" y="1391234"/>
                </a:lnTo>
                <a:lnTo>
                  <a:pt x="31750" y="1429334"/>
                </a:lnTo>
                <a:lnTo>
                  <a:pt x="44450" y="1429334"/>
                </a:lnTo>
                <a:lnTo>
                  <a:pt x="44450" y="1391234"/>
                </a:lnTo>
                <a:close/>
              </a:path>
              <a:path w="76200" h="1784985">
                <a:moveTo>
                  <a:pt x="44450" y="1340434"/>
                </a:moveTo>
                <a:lnTo>
                  <a:pt x="31750" y="1340434"/>
                </a:lnTo>
                <a:lnTo>
                  <a:pt x="31750" y="1378534"/>
                </a:lnTo>
                <a:lnTo>
                  <a:pt x="44450" y="1378534"/>
                </a:lnTo>
                <a:lnTo>
                  <a:pt x="44450" y="1340434"/>
                </a:lnTo>
                <a:close/>
              </a:path>
              <a:path w="76200" h="1784985">
                <a:moveTo>
                  <a:pt x="44450" y="1289634"/>
                </a:moveTo>
                <a:lnTo>
                  <a:pt x="31750" y="1289634"/>
                </a:lnTo>
                <a:lnTo>
                  <a:pt x="31750" y="1327734"/>
                </a:lnTo>
                <a:lnTo>
                  <a:pt x="44450" y="1327734"/>
                </a:lnTo>
                <a:lnTo>
                  <a:pt x="44450" y="1289634"/>
                </a:lnTo>
                <a:close/>
              </a:path>
              <a:path w="76200" h="1784985">
                <a:moveTo>
                  <a:pt x="44450" y="1238834"/>
                </a:moveTo>
                <a:lnTo>
                  <a:pt x="31750" y="1238834"/>
                </a:lnTo>
                <a:lnTo>
                  <a:pt x="31750" y="1276934"/>
                </a:lnTo>
                <a:lnTo>
                  <a:pt x="44450" y="1276934"/>
                </a:lnTo>
                <a:lnTo>
                  <a:pt x="44450" y="1238834"/>
                </a:lnTo>
                <a:close/>
              </a:path>
              <a:path w="76200" h="1784985">
                <a:moveTo>
                  <a:pt x="44450" y="1188034"/>
                </a:moveTo>
                <a:lnTo>
                  <a:pt x="31750" y="1188034"/>
                </a:lnTo>
                <a:lnTo>
                  <a:pt x="31750" y="1226134"/>
                </a:lnTo>
                <a:lnTo>
                  <a:pt x="44450" y="1226134"/>
                </a:lnTo>
                <a:lnTo>
                  <a:pt x="44450" y="1188034"/>
                </a:lnTo>
                <a:close/>
              </a:path>
              <a:path w="76200" h="1784985">
                <a:moveTo>
                  <a:pt x="44450" y="1137234"/>
                </a:moveTo>
                <a:lnTo>
                  <a:pt x="31750" y="1137234"/>
                </a:lnTo>
                <a:lnTo>
                  <a:pt x="31750" y="1175334"/>
                </a:lnTo>
                <a:lnTo>
                  <a:pt x="44450" y="1175334"/>
                </a:lnTo>
                <a:lnTo>
                  <a:pt x="44450" y="1137234"/>
                </a:lnTo>
                <a:close/>
              </a:path>
              <a:path w="76200" h="1784985">
                <a:moveTo>
                  <a:pt x="44450" y="1086434"/>
                </a:moveTo>
                <a:lnTo>
                  <a:pt x="31750" y="1086434"/>
                </a:lnTo>
                <a:lnTo>
                  <a:pt x="31750" y="1124534"/>
                </a:lnTo>
                <a:lnTo>
                  <a:pt x="44450" y="1124534"/>
                </a:lnTo>
                <a:lnTo>
                  <a:pt x="44450" y="1086434"/>
                </a:lnTo>
                <a:close/>
              </a:path>
              <a:path w="76200" h="1784985">
                <a:moveTo>
                  <a:pt x="44450" y="1035634"/>
                </a:moveTo>
                <a:lnTo>
                  <a:pt x="31750" y="1035634"/>
                </a:lnTo>
                <a:lnTo>
                  <a:pt x="31750" y="1073734"/>
                </a:lnTo>
                <a:lnTo>
                  <a:pt x="44450" y="1073734"/>
                </a:lnTo>
                <a:lnTo>
                  <a:pt x="44450" y="1035634"/>
                </a:lnTo>
                <a:close/>
              </a:path>
              <a:path w="76200" h="1784985">
                <a:moveTo>
                  <a:pt x="44450" y="984834"/>
                </a:moveTo>
                <a:lnTo>
                  <a:pt x="31750" y="984834"/>
                </a:lnTo>
                <a:lnTo>
                  <a:pt x="31750" y="1022934"/>
                </a:lnTo>
                <a:lnTo>
                  <a:pt x="44450" y="1022934"/>
                </a:lnTo>
                <a:lnTo>
                  <a:pt x="44450" y="984834"/>
                </a:lnTo>
                <a:close/>
              </a:path>
              <a:path w="76200" h="1784985">
                <a:moveTo>
                  <a:pt x="44450" y="934034"/>
                </a:moveTo>
                <a:lnTo>
                  <a:pt x="31750" y="934034"/>
                </a:lnTo>
                <a:lnTo>
                  <a:pt x="31750" y="972134"/>
                </a:lnTo>
                <a:lnTo>
                  <a:pt x="44450" y="972134"/>
                </a:lnTo>
                <a:lnTo>
                  <a:pt x="44450" y="934034"/>
                </a:lnTo>
                <a:close/>
              </a:path>
              <a:path w="76200" h="1784985">
                <a:moveTo>
                  <a:pt x="44450" y="883234"/>
                </a:moveTo>
                <a:lnTo>
                  <a:pt x="31750" y="883234"/>
                </a:lnTo>
                <a:lnTo>
                  <a:pt x="31750" y="921334"/>
                </a:lnTo>
                <a:lnTo>
                  <a:pt x="44450" y="921334"/>
                </a:lnTo>
                <a:lnTo>
                  <a:pt x="44450" y="883234"/>
                </a:lnTo>
                <a:close/>
              </a:path>
              <a:path w="76200" h="1784985">
                <a:moveTo>
                  <a:pt x="44450" y="832434"/>
                </a:moveTo>
                <a:lnTo>
                  <a:pt x="31750" y="832434"/>
                </a:lnTo>
                <a:lnTo>
                  <a:pt x="31750" y="870534"/>
                </a:lnTo>
                <a:lnTo>
                  <a:pt x="44450" y="870534"/>
                </a:lnTo>
                <a:lnTo>
                  <a:pt x="44450" y="832434"/>
                </a:lnTo>
                <a:close/>
              </a:path>
              <a:path w="76200" h="1784985">
                <a:moveTo>
                  <a:pt x="44450" y="781634"/>
                </a:moveTo>
                <a:lnTo>
                  <a:pt x="31750" y="781634"/>
                </a:lnTo>
                <a:lnTo>
                  <a:pt x="31750" y="819734"/>
                </a:lnTo>
                <a:lnTo>
                  <a:pt x="44450" y="819734"/>
                </a:lnTo>
                <a:lnTo>
                  <a:pt x="44450" y="781634"/>
                </a:lnTo>
                <a:close/>
              </a:path>
              <a:path w="76200" h="1784985">
                <a:moveTo>
                  <a:pt x="44450" y="730834"/>
                </a:moveTo>
                <a:lnTo>
                  <a:pt x="31750" y="730834"/>
                </a:lnTo>
                <a:lnTo>
                  <a:pt x="31750" y="768934"/>
                </a:lnTo>
                <a:lnTo>
                  <a:pt x="44450" y="768934"/>
                </a:lnTo>
                <a:lnTo>
                  <a:pt x="44450" y="730834"/>
                </a:lnTo>
                <a:close/>
              </a:path>
              <a:path w="76200" h="1784985">
                <a:moveTo>
                  <a:pt x="44450" y="680034"/>
                </a:moveTo>
                <a:lnTo>
                  <a:pt x="31750" y="680034"/>
                </a:lnTo>
                <a:lnTo>
                  <a:pt x="31750" y="718134"/>
                </a:lnTo>
                <a:lnTo>
                  <a:pt x="44450" y="718134"/>
                </a:lnTo>
                <a:lnTo>
                  <a:pt x="44450" y="680034"/>
                </a:lnTo>
                <a:close/>
              </a:path>
              <a:path w="76200" h="1784985">
                <a:moveTo>
                  <a:pt x="44450" y="629234"/>
                </a:moveTo>
                <a:lnTo>
                  <a:pt x="31750" y="629234"/>
                </a:lnTo>
                <a:lnTo>
                  <a:pt x="31750" y="667334"/>
                </a:lnTo>
                <a:lnTo>
                  <a:pt x="44450" y="667334"/>
                </a:lnTo>
                <a:lnTo>
                  <a:pt x="44450" y="629234"/>
                </a:lnTo>
                <a:close/>
              </a:path>
              <a:path w="76200" h="1784985">
                <a:moveTo>
                  <a:pt x="44450" y="578434"/>
                </a:moveTo>
                <a:lnTo>
                  <a:pt x="31750" y="578434"/>
                </a:lnTo>
                <a:lnTo>
                  <a:pt x="31750" y="616534"/>
                </a:lnTo>
                <a:lnTo>
                  <a:pt x="44450" y="616534"/>
                </a:lnTo>
                <a:lnTo>
                  <a:pt x="44450" y="578434"/>
                </a:lnTo>
                <a:close/>
              </a:path>
              <a:path w="76200" h="1784985">
                <a:moveTo>
                  <a:pt x="44450" y="527634"/>
                </a:moveTo>
                <a:lnTo>
                  <a:pt x="31750" y="527634"/>
                </a:lnTo>
                <a:lnTo>
                  <a:pt x="31750" y="565734"/>
                </a:lnTo>
                <a:lnTo>
                  <a:pt x="44450" y="565734"/>
                </a:lnTo>
                <a:lnTo>
                  <a:pt x="44450" y="527634"/>
                </a:lnTo>
                <a:close/>
              </a:path>
              <a:path w="76200" h="1784985">
                <a:moveTo>
                  <a:pt x="44450" y="476834"/>
                </a:moveTo>
                <a:lnTo>
                  <a:pt x="31750" y="476834"/>
                </a:lnTo>
                <a:lnTo>
                  <a:pt x="31750" y="514934"/>
                </a:lnTo>
                <a:lnTo>
                  <a:pt x="44450" y="514934"/>
                </a:lnTo>
                <a:lnTo>
                  <a:pt x="44450" y="476834"/>
                </a:lnTo>
                <a:close/>
              </a:path>
              <a:path w="76200" h="1784985">
                <a:moveTo>
                  <a:pt x="44450" y="426034"/>
                </a:moveTo>
                <a:lnTo>
                  <a:pt x="31750" y="426034"/>
                </a:lnTo>
                <a:lnTo>
                  <a:pt x="31750" y="464134"/>
                </a:lnTo>
                <a:lnTo>
                  <a:pt x="44450" y="464134"/>
                </a:lnTo>
                <a:lnTo>
                  <a:pt x="44450" y="426034"/>
                </a:lnTo>
                <a:close/>
              </a:path>
              <a:path w="76200" h="1784985">
                <a:moveTo>
                  <a:pt x="44450" y="375234"/>
                </a:moveTo>
                <a:lnTo>
                  <a:pt x="31750" y="375234"/>
                </a:lnTo>
                <a:lnTo>
                  <a:pt x="31750" y="413334"/>
                </a:lnTo>
                <a:lnTo>
                  <a:pt x="44450" y="413334"/>
                </a:lnTo>
                <a:lnTo>
                  <a:pt x="44450" y="375234"/>
                </a:lnTo>
                <a:close/>
              </a:path>
              <a:path w="76200" h="1784985">
                <a:moveTo>
                  <a:pt x="44450" y="324434"/>
                </a:moveTo>
                <a:lnTo>
                  <a:pt x="31750" y="324434"/>
                </a:lnTo>
                <a:lnTo>
                  <a:pt x="31750" y="362534"/>
                </a:lnTo>
                <a:lnTo>
                  <a:pt x="44450" y="362534"/>
                </a:lnTo>
                <a:lnTo>
                  <a:pt x="44450" y="324434"/>
                </a:lnTo>
                <a:close/>
              </a:path>
              <a:path w="76200" h="1784985">
                <a:moveTo>
                  <a:pt x="44450" y="273634"/>
                </a:moveTo>
                <a:lnTo>
                  <a:pt x="31750" y="273634"/>
                </a:lnTo>
                <a:lnTo>
                  <a:pt x="31750" y="311734"/>
                </a:lnTo>
                <a:lnTo>
                  <a:pt x="44450" y="311734"/>
                </a:lnTo>
                <a:lnTo>
                  <a:pt x="44450" y="273634"/>
                </a:lnTo>
                <a:close/>
              </a:path>
              <a:path w="76200" h="1784985">
                <a:moveTo>
                  <a:pt x="44450" y="222834"/>
                </a:moveTo>
                <a:lnTo>
                  <a:pt x="31750" y="222834"/>
                </a:lnTo>
                <a:lnTo>
                  <a:pt x="31750" y="260934"/>
                </a:lnTo>
                <a:lnTo>
                  <a:pt x="44450" y="260934"/>
                </a:lnTo>
                <a:lnTo>
                  <a:pt x="44450" y="222834"/>
                </a:lnTo>
                <a:close/>
              </a:path>
              <a:path w="76200" h="1784985">
                <a:moveTo>
                  <a:pt x="44450" y="172034"/>
                </a:moveTo>
                <a:lnTo>
                  <a:pt x="31750" y="172034"/>
                </a:lnTo>
                <a:lnTo>
                  <a:pt x="31750" y="210134"/>
                </a:lnTo>
                <a:lnTo>
                  <a:pt x="44450" y="210134"/>
                </a:lnTo>
                <a:lnTo>
                  <a:pt x="44450" y="172034"/>
                </a:lnTo>
                <a:close/>
              </a:path>
              <a:path w="76200" h="1784985">
                <a:moveTo>
                  <a:pt x="44450" y="121234"/>
                </a:moveTo>
                <a:lnTo>
                  <a:pt x="31750" y="121234"/>
                </a:lnTo>
                <a:lnTo>
                  <a:pt x="31750" y="159334"/>
                </a:lnTo>
                <a:lnTo>
                  <a:pt x="44450" y="159334"/>
                </a:lnTo>
                <a:lnTo>
                  <a:pt x="44450" y="121234"/>
                </a:lnTo>
                <a:close/>
              </a:path>
              <a:path w="76200" h="1784985">
                <a:moveTo>
                  <a:pt x="44450" y="70434"/>
                </a:moveTo>
                <a:lnTo>
                  <a:pt x="31750" y="70434"/>
                </a:lnTo>
                <a:lnTo>
                  <a:pt x="31750" y="108534"/>
                </a:lnTo>
                <a:lnTo>
                  <a:pt x="44450" y="108534"/>
                </a:lnTo>
                <a:lnTo>
                  <a:pt x="44450" y="70434"/>
                </a:lnTo>
                <a:close/>
              </a:path>
              <a:path w="76200" h="1784985">
                <a:moveTo>
                  <a:pt x="38100" y="0"/>
                </a:moveTo>
                <a:lnTo>
                  <a:pt x="0" y="76200"/>
                </a:lnTo>
                <a:lnTo>
                  <a:pt x="31750" y="76200"/>
                </a:lnTo>
                <a:lnTo>
                  <a:pt x="31750" y="70434"/>
                </a:lnTo>
                <a:lnTo>
                  <a:pt x="73305" y="70434"/>
                </a:lnTo>
                <a:lnTo>
                  <a:pt x="38100" y="0"/>
                </a:lnTo>
                <a:close/>
              </a:path>
              <a:path w="76200" h="1784985">
                <a:moveTo>
                  <a:pt x="73305" y="70434"/>
                </a:moveTo>
                <a:lnTo>
                  <a:pt x="44450" y="70434"/>
                </a:lnTo>
                <a:lnTo>
                  <a:pt x="44450" y="76200"/>
                </a:lnTo>
                <a:lnTo>
                  <a:pt x="76187" y="76200"/>
                </a:lnTo>
                <a:lnTo>
                  <a:pt x="73305" y="70434"/>
                </a:lnTo>
                <a:close/>
              </a:path>
            </a:pathLst>
          </a:custGeom>
          <a:solidFill>
            <a:srgbClr val="B7B1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 txBox="1"/>
          <p:nvPr/>
        </p:nvSpPr>
        <p:spPr>
          <a:xfrm>
            <a:off x="9230626" y="3588003"/>
            <a:ext cx="9017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861325" y="3984231"/>
            <a:ext cx="179997" cy="17999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7906080" y="3972051"/>
            <a:ext cx="9017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2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0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1187" y="1851660"/>
            <a:ext cx="517969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b="1" spc="-285">
                <a:solidFill>
                  <a:srgbClr val="FFFFFF"/>
                </a:solidFill>
                <a:latin typeface="Trebuchet MS"/>
                <a:cs typeface="Trebuchet MS"/>
              </a:rPr>
              <a:t>Practical </a:t>
            </a:r>
            <a:r>
              <a:rPr sz="4400" b="1" spc="-305">
                <a:solidFill>
                  <a:srgbClr val="FFFFFF"/>
                </a:solidFill>
                <a:latin typeface="Trebuchet MS"/>
                <a:cs typeface="Trebuchet MS"/>
              </a:rPr>
              <a:t>experiences</a:t>
            </a:r>
            <a:r>
              <a:rPr sz="4400" b="1" spc="-425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4400" b="1" spc="-270">
                <a:solidFill>
                  <a:srgbClr val="FFFFFF"/>
                </a:solidFill>
                <a:latin typeface="Trebuchet MS"/>
                <a:cs typeface="Trebuchet MS"/>
              </a:rPr>
              <a:t>-</a:t>
            </a:r>
            <a:endParaRPr sz="44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11187" y="2866644"/>
            <a:ext cx="668655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b="1" spc="-150">
                <a:solidFill>
                  <a:srgbClr val="FFFFFF"/>
                </a:solidFill>
                <a:latin typeface="Trebuchet MS"/>
                <a:cs typeface="Trebuchet MS"/>
              </a:rPr>
              <a:t>What </a:t>
            </a:r>
            <a:r>
              <a:rPr sz="4400" b="1" spc="-160">
                <a:solidFill>
                  <a:srgbClr val="FFFFFF"/>
                </a:solidFill>
                <a:latin typeface="Trebuchet MS"/>
                <a:cs typeface="Trebuchet MS"/>
              </a:rPr>
              <a:t>do </a:t>
            </a:r>
            <a:r>
              <a:rPr sz="4400" b="1" spc="-229">
                <a:solidFill>
                  <a:srgbClr val="FFFFFF"/>
                </a:solidFill>
                <a:latin typeface="Trebuchet MS"/>
                <a:cs typeface="Trebuchet MS"/>
              </a:rPr>
              <a:t>you </a:t>
            </a:r>
            <a:r>
              <a:rPr sz="4400" b="1" spc="-235">
                <a:solidFill>
                  <a:srgbClr val="FFFFFF"/>
                </a:solidFill>
                <a:latin typeface="Trebuchet MS"/>
                <a:cs typeface="Trebuchet MS"/>
              </a:rPr>
              <a:t>wonder</a:t>
            </a:r>
            <a:r>
              <a:rPr sz="4400" b="1" spc="-819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4400" b="1" spc="-145">
                <a:solidFill>
                  <a:srgbClr val="FFFFFF"/>
                </a:solidFill>
                <a:latin typeface="Trebuchet MS"/>
                <a:cs typeface="Trebuchet MS"/>
              </a:rPr>
              <a:t>about?</a:t>
            </a:r>
            <a:endParaRPr sz="44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89460" cy="6858000"/>
            <a:chOff x="0" y="0"/>
            <a:chExt cx="12189460" cy="685800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2188952" cy="685799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0189464" y="6419088"/>
              <a:ext cx="1380744" cy="22250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6026150" y="6456679"/>
            <a:ext cx="1397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34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object 7"/>
            <p:cNvSpPr/>
            <p:nvPr/>
          </p:nvSpPr>
          <p:spPr>
            <a:xfrm>
              <a:off x="0" y="0"/>
              <a:ext cx="12191999" cy="685799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008120" y="3093719"/>
              <a:ext cx="4175760" cy="670559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26150" y="6456679"/>
            <a:ext cx="1397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0">
                <a:solidFill>
                  <a:srgbClr val="BFBFBF"/>
                </a:solidFill>
                <a:latin typeface="Trebuchet MS"/>
                <a:cs typeface="Trebuchet MS"/>
              </a:rPr>
              <a:t>35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5360784" y="2026818"/>
            <a:ext cx="2701925" cy="999490"/>
            <a:chOff x="5360784" y="2026818"/>
            <a:chExt cx="2701925" cy="999490"/>
          </a:xfrm>
        </p:grpSpPr>
        <p:sp>
          <p:nvSpPr>
            <p:cNvPr id="4" name="object 4"/>
            <p:cNvSpPr/>
            <p:nvPr/>
          </p:nvSpPr>
          <p:spPr>
            <a:xfrm>
              <a:off x="5373484" y="2039518"/>
              <a:ext cx="2676525" cy="974090"/>
            </a:xfrm>
            <a:custGeom>
              <a:avLst/>
              <a:gdLst/>
              <a:ahLst/>
              <a:cxnLst/>
              <a:rect l="l" t="t" r="r" b="b"/>
              <a:pathLst>
                <a:path w="2676525" h="974089">
                  <a:moveTo>
                    <a:pt x="2676029" y="0"/>
                  </a:moveTo>
                  <a:lnTo>
                    <a:pt x="0" y="0"/>
                  </a:lnTo>
                  <a:lnTo>
                    <a:pt x="0" y="973518"/>
                  </a:lnTo>
                  <a:lnTo>
                    <a:pt x="2676029" y="973518"/>
                  </a:lnTo>
                  <a:lnTo>
                    <a:pt x="2676029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373484" y="2039518"/>
              <a:ext cx="2676525" cy="974090"/>
            </a:xfrm>
            <a:custGeom>
              <a:avLst/>
              <a:gdLst/>
              <a:ahLst/>
              <a:cxnLst/>
              <a:rect l="l" t="t" r="r" b="b"/>
              <a:pathLst>
                <a:path w="2676525" h="974089">
                  <a:moveTo>
                    <a:pt x="0" y="0"/>
                  </a:moveTo>
                  <a:lnTo>
                    <a:pt x="2676031" y="0"/>
                  </a:lnTo>
                  <a:lnTo>
                    <a:pt x="2676031" y="973508"/>
                  </a:lnTo>
                  <a:lnTo>
                    <a:pt x="0" y="97350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5386184" y="2073147"/>
            <a:ext cx="265112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80695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latin typeface="Arial"/>
                <a:cs typeface="Arial"/>
              </a:rPr>
              <a:t>Production server </a:t>
            </a:r>
            <a:r>
              <a:rPr sz="1000">
                <a:latin typeface="Arial"/>
                <a:cs typeface="Arial"/>
              </a:rPr>
              <a:t>(DS</a:t>
            </a:r>
            <a:r>
              <a:rPr sz="1000" spc="-25">
                <a:latin typeface="Arial"/>
                <a:cs typeface="Arial"/>
              </a:rPr>
              <a:t> </a:t>
            </a:r>
            <a:r>
              <a:rPr sz="1000" spc="-5">
                <a:latin typeface="Arial"/>
                <a:cs typeface="Arial"/>
              </a:rPr>
              <a:t>PROD)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921034" y="3644874"/>
            <a:ext cx="1256665" cy="816610"/>
            <a:chOff x="921034" y="3644874"/>
            <a:chExt cx="1256665" cy="816610"/>
          </a:xfrm>
        </p:grpSpPr>
        <p:sp>
          <p:nvSpPr>
            <p:cNvPr id="8" name="object 8"/>
            <p:cNvSpPr/>
            <p:nvPr/>
          </p:nvSpPr>
          <p:spPr>
            <a:xfrm>
              <a:off x="933734" y="3657574"/>
              <a:ext cx="1231265" cy="791210"/>
            </a:xfrm>
            <a:custGeom>
              <a:avLst/>
              <a:gdLst/>
              <a:ahLst/>
              <a:cxnLst/>
              <a:rect l="l" t="t" r="r" b="b"/>
              <a:pathLst>
                <a:path w="1231264" h="791210">
                  <a:moveTo>
                    <a:pt x="615386" y="0"/>
                  </a:moveTo>
                  <a:lnTo>
                    <a:pt x="543619" y="886"/>
                  </a:lnTo>
                  <a:lnTo>
                    <a:pt x="474284" y="3479"/>
                  </a:lnTo>
                  <a:lnTo>
                    <a:pt x="407842" y="7681"/>
                  </a:lnTo>
                  <a:lnTo>
                    <a:pt x="344755" y="13392"/>
                  </a:lnTo>
                  <a:lnTo>
                    <a:pt x="285485" y="20514"/>
                  </a:lnTo>
                  <a:lnTo>
                    <a:pt x="230494" y="28947"/>
                  </a:lnTo>
                  <a:lnTo>
                    <a:pt x="180243" y="38593"/>
                  </a:lnTo>
                  <a:lnTo>
                    <a:pt x="135194" y="49353"/>
                  </a:lnTo>
                  <a:lnTo>
                    <a:pt x="95808" y="61129"/>
                  </a:lnTo>
                  <a:lnTo>
                    <a:pt x="35876" y="87330"/>
                  </a:lnTo>
                  <a:lnTo>
                    <a:pt x="4140" y="116406"/>
                  </a:lnTo>
                  <a:lnTo>
                    <a:pt x="0" y="131775"/>
                  </a:lnTo>
                  <a:lnTo>
                    <a:pt x="0" y="658901"/>
                  </a:lnTo>
                  <a:lnTo>
                    <a:pt x="35876" y="703346"/>
                  </a:lnTo>
                  <a:lnTo>
                    <a:pt x="95808" y="729547"/>
                  </a:lnTo>
                  <a:lnTo>
                    <a:pt x="135194" y="741322"/>
                  </a:lnTo>
                  <a:lnTo>
                    <a:pt x="180243" y="752082"/>
                  </a:lnTo>
                  <a:lnTo>
                    <a:pt x="230494" y="761729"/>
                  </a:lnTo>
                  <a:lnTo>
                    <a:pt x="285485" y="770162"/>
                  </a:lnTo>
                  <a:lnTo>
                    <a:pt x="344755" y="777283"/>
                  </a:lnTo>
                  <a:lnTo>
                    <a:pt x="407842" y="782994"/>
                  </a:lnTo>
                  <a:lnTo>
                    <a:pt x="474284" y="787196"/>
                  </a:lnTo>
                  <a:lnTo>
                    <a:pt x="543619" y="789790"/>
                  </a:lnTo>
                  <a:lnTo>
                    <a:pt x="615386" y="790676"/>
                  </a:lnTo>
                  <a:lnTo>
                    <a:pt x="687154" y="789790"/>
                  </a:lnTo>
                  <a:lnTo>
                    <a:pt x="756491" y="787196"/>
                  </a:lnTo>
                  <a:lnTo>
                    <a:pt x="822934" y="782994"/>
                  </a:lnTo>
                  <a:lnTo>
                    <a:pt x="886022" y="777283"/>
                  </a:lnTo>
                  <a:lnTo>
                    <a:pt x="945292" y="770162"/>
                  </a:lnTo>
                  <a:lnTo>
                    <a:pt x="1000284" y="761729"/>
                  </a:lnTo>
                  <a:lnTo>
                    <a:pt x="1050535" y="752082"/>
                  </a:lnTo>
                  <a:lnTo>
                    <a:pt x="1095584" y="741322"/>
                  </a:lnTo>
                  <a:lnTo>
                    <a:pt x="1134969" y="729547"/>
                  </a:lnTo>
                  <a:lnTo>
                    <a:pt x="1194901" y="703346"/>
                  </a:lnTo>
                  <a:lnTo>
                    <a:pt x="1226637" y="674270"/>
                  </a:lnTo>
                  <a:lnTo>
                    <a:pt x="1230777" y="658901"/>
                  </a:lnTo>
                  <a:lnTo>
                    <a:pt x="1230777" y="131775"/>
                  </a:lnTo>
                  <a:lnTo>
                    <a:pt x="1194901" y="87330"/>
                  </a:lnTo>
                  <a:lnTo>
                    <a:pt x="1134969" y="61129"/>
                  </a:lnTo>
                  <a:lnTo>
                    <a:pt x="1095584" y="49353"/>
                  </a:lnTo>
                  <a:lnTo>
                    <a:pt x="1050535" y="38593"/>
                  </a:lnTo>
                  <a:lnTo>
                    <a:pt x="1000284" y="28947"/>
                  </a:lnTo>
                  <a:lnTo>
                    <a:pt x="945292" y="20514"/>
                  </a:lnTo>
                  <a:lnTo>
                    <a:pt x="886022" y="13392"/>
                  </a:lnTo>
                  <a:lnTo>
                    <a:pt x="822934" y="7681"/>
                  </a:lnTo>
                  <a:lnTo>
                    <a:pt x="756491" y="3479"/>
                  </a:lnTo>
                  <a:lnTo>
                    <a:pt x="687154" y="886"/>
                  </a:lnTo>
                  <a:lnTo>
                    <a:pt x="615386" y="0"/>
                  </a:lnTo>
                  <a:close/>
                </a:path>
              </a:pathLst>
            </a:custGeom>
            <a:solidFill>
              <a:srgbClr val="6F6F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933734" y="3657574"/>
              <a:ext cx="1231265" cy="791210"/>
            </a:xfrm>
            <a:custGeom>
              <a:avLst/>
              <a:gdLst/>
              <a:ahLst/>
              <a:cxnLst/>
              <a:rect l="l" t="t" r="r" b="b"/>
              <a:pathLst>
                <a:path w="1231264" h="791210">
                  <a:moveTo>
                    <a:pt x="1230780" y="131780"/>
                  </a:moveTo>
                  <a:lnTo>
                    <a:pt x="1194904" y="176224"/>
                  </a:lnTo>
                  <a:lnTo>
                    <a:pt x="1134971" y="202426"/>
                  </a:lnTo>
                  <a:lnTo>
                    <a:pt x="1095586" y="214202"/>
                  </a:lnTo>
                  <a:lnTo>
                    <a:pt x="1050537" y="224963"/>
                  </a:lnTo>
                  <a:lnTo>
                    <a:pt x="1000285" y="234610"/>
                  </a:lnTo>
                  <a:lnTo>
                    <a:pt x="945294" y="243044"/>
                  </a:lnTo>
                  <a:lnTo>
                    <a:pt x="886023" y="250166"/>
                  </a:lnTo>
                  <a:lnTo>
                    <a:pt x="822936" y="255878"/>
                  </a:lnTo>
                  <a:lnTo>
                    <a:pt x="756493" y="260080"/>
                  </a:lnTo>
                  <a:lnTo>
                    <a:pt x="687157" y="262674"/>
                  </a:lnTo>
                  <a:lnTo>
                    <a:pt x="615390" y="263561"/>
                  </a:lnTo>
                  <a:lnTo>
                    <a:pt x="543622" y="262674"/>
                  </a:lnTo>
                  <a:lnTo>
                    <a:pt x="474287" y="260080"/>
                  </a:lnTo>
                  <a:lnTo>
                    <a:pt x="407844" y="255878"/>
                  </a:lnTo>
                  <a:lnTo>
                    <a:pt x="344757" y="250166"/>
                  </a:lnTo>
                  <a:lnTo>
                    <a:pt x="285487" y="243044"/>
                  </a:lnTo>
                  <a:lnTo>
                    <a:pt x="230495" y="234610"/>
                  </a:lnTo>
                  <a:lnTo>
                    <a:pt x="180243" y="224963"/>
                  </a:lnTo>
                  <a:lnTo>
                    <a:pt x="135194" y="214202"/>
                  </a:lnTo>
                  <a:lnTo>
                    <a:pt x="95809" y="202426"/>
                  </a:lnTo>
                  <a:lnTo>
                    <a:pt x="35876" y="176224"/>
                  </a:lnTo>
                  <a:lnTo>
                    <a:pt x="4140" y="147148"/>
                  </a:lnTo>
                  <a:lnTo>
                    <a:pt x="0" y="131780"/>
                  </a:lnTo>
                </a:path>
                <a:path w="1231264" h="791210">
                  <a:moveTo>
                    <a:pt x="0" y="131780"/>
                  </a:moveTo>
                  <a:lnTo>
                    <a:pt x="35876" y="87336"/>
                  </a:lnTo>
                  <a:lnTo>
                    <a:pt x="95809" y="61134"/>
                  </a:lnTo>
                  <a:lnTo>
                    <a:pt x="135194" y="49358"/>
                  </a:lnTo>
                  <a:lnTo>
                    <a:pt x="180243" y="38597"/>
                  </a:lnTo>
                  <a:lnTo>
                    <a:pt x="230495" y="28950"/>
                  </a:lnTo>
                  <a:lnTo>
                    <a:pt x="285487" y="20516"/>
                  </a:lnTo>
                  <a:lnTo>
                    <a:pt x="344757" y="13394"/>
                  </a:lnTo>
                  <a:lnTo>
                    <a:pt x="407844" y="7682"/>
                  </a:lnTo>
                  <a:lnTo>
                    <a:pt x="474287" y="3480"/>
                  </a:lnTo>
                  <a:lnTo>
                    <a:pt x="543622" y="886"/>
                  </a:lnTo>
                  <a:lnTo>
                    <a:pt x="615390" y="0"/>
                  </a:lnTo>
                  <a:lnTo>
                    <a:pt x="687157" y="886"/>
                  </a:lnTo>
                  <a:lnTo>
                    <a:pt x="756493" y="3480"/>
                  </a:lnTo>
                  <a:lnTo>
                    <a:pt x="822936" y="7682"/>
                  </a:lnTo>
                  <a:lnTo>
                    <a:pt x="886023" y="13394"/>
                  </a:lnTo>
                  <a:lnTo>
                    <a:pt x="945294" y="20516"/>
                  </a:lnTo>
                  <a:lnTo>
                    <a:pt x="1000285" y="28950"/>
                  </a:lnTo>
                  <a:lnTo>
                    <a:pt x="1050537" y="38597"/>
                  </a:lnTo>
                  <a:lnTo>
                    <a:pt x="1095586" y="49358"/>
                  </a:lnTo>
                  <a:lnTo>
                    <a:pt x="1134971" y="61134"/>
                  </a:lnTo>
                  <a:lnTo>
                    <a:pt x="1194904" y="87336"/>
                  </a:lnTo>
                  <a:lnTo>
                    <a:pt x="1226640" y="116411"/>
                  </a:lnTo>
                  <a:lnTo>
                    <a:pt x="1230780" y="131780"/>
                  </a:lnTo>
                  <a:lnTo>
                    <a:pt x="1230780" y="658902"/>
                  </a:lnTo>
                  <a:lnTo>
                    <a:pt x="1194904" y="703346"/>
                  </a:lnTo>
                  <a:lnTo>
                    <a:pt x="1134971" y="729548"/>
                  </a:lnTo>
                  <a:lnTo>
                    <a:pt x="1095586" y="741324"/>
                  </a:lnTo>
                  <a:lnTo>
                    <a:pt x="1050537" y="752084"/>
                  </a:lnTo>
                  <a:lnTo>
                    <a:pt x="1000285" y="761731"/>
                  </a:lnTo>
                  <a:lnTo>
                    <a:pt x="945294" y="770165"/>
                  </a:lnTo>
                  <a:lnTo>
                    <a:pt x="886023" y="777288"/>
                  </a:lnTo>
                  <a:lnTo>
                    <a:pt x="822936" y="782999"/>
                  </a:lnTo>
                  <a:lnTo>
                    <a:pt x="756493" y="787202"/>
                  </a:lnTo>
                  <a:lnTo>
                    <a:pt x="687157" y="789795"/>
                  </a:lnTo>
                  <a:lnTo>
                    <a:pt x="615390" y="790682"/>
                  </a:lnTo>
                  <a:lnTo>
                    <a:pt x="543622" y="789795"/>
                  </a:lnTo>
                  <a:lnTo>
                    <a:pt x="474287" y="787202"/>
                  </a:lnTo>
                  <a:lnTo>
                    <a:pt x="407844" y="782999"/>
                  </a:lnTo>
                  <a:lnTo>
                    <a:pt x="344757" y="777288"/>
                  </a:lnTo>
                  <a:lnTo>
                    <a:pt x="285487" y="770165"/>
                  </a:lnTo>
                  <a:lnTo>
                    <a:pt x="230495" y="761731"/>
                  </a:lnTo>
                  <a:lnTo>
                    <a:pt x="180243" y="752084"/>
                  </a:lnTo>
                  <a:lnTo>
                    <a:pt x="135194" y="741324"/>
                  </a:lnTo>
                  <a:lnTo>
                    <a:pt x="95809" y="729548"/>
                  </a:lnTo>
                  <a:lnTo>
                    <a:pt x="35876" y="703346"/>
                  </a:lnTo>
                  <a:lnTo>
                    <a:pt x="4140" y="674270"/>
                  </a:lnTo>
                  <a:lnTo>
                    <a:pt x="0" y="658902"/>
                  </a:lnTo>
                  <a:lnTo>
                    <a:pt x="0" y="131780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143519" y="4029964"/>
            <a:ext cx="81216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4795" marR="5080" indent="-252729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solidFill>
                  <a:srgbClr val="FFFFFF"/>
                </a:solidFill>
                <a:latin typeface="Arial"/>
                <a:cs typeface="Arial"/>
              </a:rPr>
              <a:t>ABT </a:t>
            </a:r>
            <a:r>
              <a:rPr sz="100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1000" spc="-1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spc="-5">
                <a:solidFill>
                  <a:srgbClr val="FFFFFF"/>
                </a:solidFill>
                <a:latin typeface="Arial"/>
                <a:cs typeface="Arial"/>
              </a:rPr>
              <a:t>Feature  store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2934652" y="4572203"/>
            <a:ext cx="5626100" cy="749935"/>
            <a:chOff x="2934652" y="4572203"/>
            <a:chExt cx="5626100" cy="749935"/>
          </a:xfrm>
        </p:grpSpPr>
        <p:sp>
          <p:nvSpPr>
            <p:cNvPr id="12" name="object 12"/>
            <p:cNvSpPr/>
            <p:nvPr/>
          </p:nvSpPr>
          <p:spPr>
            <a:xfrm>
              <a:off x="2947352" y="4584903"/>
              <a:ext cx="5600700" cy="724535"/>
            </a:xfrm>
            <a:custGeom>
              <a:avLst/>
              <a:gdLst/>
              <a:ahLst/>
              <a:cxnLst/>
              <a:rect l="l" t="t" r="r" b="b"/>
              <a:pathLst>
                <a:path w="5600700" h="724535">
                  <a:moveTo>
                    <a:pt x="5600661" y="0"/>
                  </a:moveTo>
                  <a:lnTo>
                    <a:pt x="0" y="0"/>
                  </a:lnTo>
                  <a:lnTo>
                    <a:pt x="0" y="724268"/>
                  </a:lnTo>
                  <a:lnTo>
                    <a:pt x="5600661" y="724268"/>
                  </a:lnTo>
                  <a:lnTo>
                    <a:pt x="5600661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947352" y="4584903"/>
              <a:ext cx="5600700" cy="724535"/>
            </a:xfrm>
            <a:custGeom>
              <a:avLst/>
              <a:gdLst/>
              <a:ahLst/>
              <a:cxnLst/>
              <a:rect l="l" t="t" r="r" b="b"/>
              <a:pathLst>
                <a:path w="5600700" h="724535">
                  <a:moveTo>
                    <a:pt x="0" y="0"/>
                  </a:moveTo>
                  <a:lnTo>
                    <a:pt x="5600663" y="0"/>
                  </a:lnTo>
                  <a:lnTo>
                    <a:pt x="5600663" y="724265"/>
                  </a:lnTo>
                  <a:lnTo>
                    <a:pt x="0" y="724265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564202" y="4618227"/>
            <a:ext cx="236791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10">
                <a:latin typeface="Arial"/>
                <a:cs typeface="Arial"/>
              </a:rPr>
              <a:t>Development </a:t>
            </a:r>
            <a:r>
              <a:rPr sz="1000" spc="-5">
                <a:latin typeface="Arial"/>
                <a:cs typeface="Arial"/>
              </a:rPr>
              <a:t>server </a:t>
            </a:r>
            <a:r>
              <a:rPr sz="1000">
                <a:latin typeface="Arial"/>
                <a:cs typeface="Arial"/>
              </a:rPr>
              <a:t>(DS </a:t>
            </a:r>
            <a:r>
              <a:rPr sz="1000" spc="-5">
                <a:latin typeface="Arial"/>
                <a:cs typeface="Arial"/>
              </a:rPr>
              <a:t>DEV) </a:t>
            </a:r>
            <a:r>
              <a:rPr sz="1000">
                <a:latin typeface="Arial"/>
                <a:cs typeface="Arial"/>
              </a:rPr>
              <a:t>–</a:t>
            </a:r>
            <a:r>
              <a:rPr sz="1000" spc="-30">
                <a:latin typeface="Arial"/>
                <a:cs typeface="Arial"/>
              </a:rPr>
              <a:t> </a:t>
            </a:r>
            <a:r>
              <a:rPr sz="1000" spc="-5">
                <a:latin typeface="Arial"/>
                <a:cs typeface="Arial"/>
              </a:rPr>
              <a:t>CI-stage</a:t>
            </a:r>
            <a:endParaRPr sz="10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89160" y="4770894"/>
            <a:ext cx="948055" cy="460375"/>
          </a:xfrm>
          <a:prstGeom prst="rect">
            <a:avLst/>
          </a:prstGeom>
          <a:solidFill>
            <a:srgbClr val="E6BCFE"/>
          </a:solidFill>
          <a:ln w="25400">
            <a:solidFill>
              <a:srgbClr val="7F7F7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96520" marR="89535" indent="1270" algn="ctr">
              <a:lnSpc>
                <a:spcPct val="100000"/>
              </a:lnSpc>
            </a:pPr>
            <a:r>
              <a:rPr sz="1000" spc="-5">
                <a:latin typeface="Arial"/>
                <a:cs typeface="Arial"/>
              </a:rPr>
              <a:t>Data  extraction  (sql</a:t>
            </a:r>
            <a:r>
              <a:rPr sz="1000" spc="-80">
                <a:latin typeface="Arial"/>
                <a:cs typeface="Arial"/>
              </a:rPr>
              <a:t> </a:t>
            </a:r>
            <a:r>
              <a:rPr sz="1000" spc="-5">
                <a:latin typeface="Arial"/>
                <a:cs typeface="Arial"/>
              </a:rPr>
              <a:t>alchemy)</a:t>
            </a:r>
            <a:endParaRPr sz="10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195546" y="4767694"/>
            <a:ext cx="929640" cy="466725"/>
          </a:xfrm>
          <a:prstGeom prst="rect">
            <a:avLst/>
          </a:prstGeom>
          <a:solidFill>
            <a:srgbClr val="E6BCFE"/>
          </a:solidFill>
          <a:ln w="25400">
            <a:solidFill>
              <a:srgbClr val="7F7F7F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marL="235585" marR="227965" indent="28575">
              <a:lnSpc>
                <a:spcPct val="100000"/>
              </a:lnSpc>
              <a:spcBef>
                <a:spcPts val="625"/>
              </a:spcBef>
            </a:pPr>
            <a:r>
              <a:rPr sz="1000" spc="-10">
                <a:latin typeface="Arial"/>
                <a:cs typeface="Arial"/>
              </a:rPr>
              <a:t>Ad-hoc  ana</a:t>
            </a:r>
            <a:r>
              <a:rPr sz="1000">
                <a:latin typeface="Arial"/>
                <a:cs typeface="Arial"/>
              </a:rPr>
              <a:t>lysis</a:t>
            </a:r>
          </a:p>
        </p:txBody>
      </p:sp>
      <p:sp>
        <p:nvSpPr>
          <p:cNvPr id="17" name="object 17"/>
          <p:cNvSpPr/>
          <p:nvPr/>
        </p:nvSpPr>
        <p:spPr>
          <a:xfrm>
            <a:off x="5283847" y="4770894"/>
            <a:ext cx="948055" cy="460375"/>
          </a:xfrm>
          <a:custGeom>
            <a:avLst/>
            <a:gdLst/>
            <a:ahLst/>
            <a:cxnLst/>
            <a:rect l="l" t="t" r="r" b="b"/>
            <a:pathLst>
              <a:path w="948054" h="460375">
                <a:moveTo>
                  <a:pt x="947623" y="0"/>
                </a:moveTo>
                <a:lnTo>
                  <a:pt x="0" y="0"/>
                </a:lnTo>
                <a:lnTo>
                  <a:pt x="0" y="460197"/>
                </a:lnTo>
                <a:lnTo>
                  <a:pt x="947623" y="460197"/>
                </a:lnTo>
                <a:lnTo>
                  <a:pt x="947623" y="0"/>
                </a:lnTo>
                <a:close/>
              </a:path>
            </a:pathLst>
          </a:custGeom>
          <a:solidFill>
            <a:srgbClr val="E6BC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5283847" y="4770894"/>
            <a:ext cx="948055" cy="460375"/>
          </a:xfrm>
          <a:prstGeom prst="rect">
            <a:avLst/>
          </a:prstGeom>
          <a:ln w="25400">
            <a:solidFill>
              <a:srgbClr val="7F7F7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22555" marR="116205" indent="635" algn="ctr">
              <a:lnSpc>
                <a:spcPct val="100000"/>
              </a:lnSpc>
            </a:pPr>
            <a:r>
              <a:rPr sz="1000" spc="-10">
                <a:latin typeface="Arial"/>
                <a:cs typeface="Arial"/>
              </a:rPr>
              <a:t>Sandbox  </a:t>
            </a:r>
            <a:r>
              <a:rPr sz="1000" spc="-5">
                <a:latin typeface="Arial"/>
                <a:cs typeface="Arial"/>
              </a:rPr>
              <a:t>(feature  </a:t>
            </a:r>
            <a:r>
              <a:rPr sz="1000" spc="-10">
                <a:latin typeface="Arial"/>
                <a:cs typeface="Arial"/>
              </a:rPr>
              <a:t>eng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nee</a:t>
            </a:r>
            <a:r>
              <a:rPr sz="1000">
                <a:latin typeface="Arial"/>
                <a:cs typeface="Arial"/>
              </a:rPr>
              <a:t>ri</a:t>
            </a:r>
            <a:r>
              <a:rPr sz="1000" spc="-10">
                <a:latin typeface="Arial"/>
                <a:cs typeface="Arial"/>
              </a:rPr>
              <a:t>ng)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377533" y="4758194"/>
            <a:ext cx="973455" cy="485775"/>
            <a:chOff x="6377533" y="4758194"/>
            <a:chExt cx="973455" cy="485775"/>
          </a:xfrm>
        </p:grpSpPr>
        <p:sp>
          <p:nvSpPr>
            <p:cNvPr id="20" name="object 20"/>
            <p:cNvSpPr/>
            <p:nvPr/>
          </p:nvSpPr>
          <p:spPr>
            <a:xfrm>
              <a:off x="6390233" y="4770894"/>
              <a:ext cx="948055" cy="460375"/>
            </a:xfrm>
            <a:custGeom>
              <a:avLst/>
              <a:gdLst/>
              <a:ahLst/>
              <a:cxnLst/>
              <a:rect l="l" t="t" r="r" b="b"/>
              <a:pathLst>
                <a:path w="948054" h="460375">
                  <a:moveTo>
                    <a:pt x="947623" y="0"/>
                  </a:moveTo>
                  <a:lnTo>
                    <a:pt x="0" y="0"/>
                  </a:lnTo>
                  <a:lnTo>
                    <a:pt x="0" y="460197"/>
                  </a:lnTo>
                  <a:lnTo>
                    <a:pt x="947623" y="460197"/>
                  </a:lnTo>
                  <a:lnTo>
                    <a:pt x="947623" y="0"/>
                  </a:lnTo>
                  <a:close/>
                </a:path>
              </a:pathLst>
            </a:custGeom>
            <a:solidFill>
              <a:srgbClr val="E6BC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6390233" y="4770894"/>
              <a:ext cx="948055" cy="460375"/>
            </a:xfrm>
            <a:custGeom>
              <a:avLst/>
              <a:gdLst/>
              <a:ahLst/>
              <a:cxnLst/>
              <a:rect l="l" t="t" r="r" b="b"/>
              <a:pathLst>
                <a:path w="948054" h="460375">
                  <a:moveTo>
                    <a:pt x="0" y="0"/>
                  </a:moveTo>
                  <a:lnTo>
                    <a:pt x="947619" y="0"/>
                  </a:lnTo>
                  <a:lnTo>
                    <a:pt x="947619" y="460199"/>
                  </a:lnTo>
                  <a:lnTo>
                    <a:pt x="0" y="460199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6402933" y="4834635"/>
            <a:ext cx="922655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3365" marR="245110" indent="34925">
              <a:lnSpc>
                <a:spcPct val="100000"/>
              </a:lnSpc>
              <a:spcBef>
                <a:spcPts val="100"/>
              </a:spcBef>
            </a:pPr>
            <a:r>
              <a:rPr sz="1000" spc="-10">
                <a:latin typeface="Arial"/>
                <a:cs typeface="Arial"/>
              </a:rPr>
              <a:t>Model  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 spc="5">
                <a:latin typeface="Arial"/>
                <a:cs typeface="Arial"/>
              </a:rPr>
              <a:t>r</a:t>
            </a:r>
            <a:r>
              <a:rPr sz="1000" spc="-10">
                <a:latin typeface="Arial"/>
                <a:cs typeface="Arial"/>
              </a:rPr>
              <a:t>a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n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n</a:t>
            </a:r>
            <a:r>
              <a:rPr sz="1000">
                <a:latin typeface="Arial"/>
                <a:cs typeface="Arial"/>
              </a:rPr>
              <a:t>g</a:t>
            </a:r>
          </a:p>
        </p:txBody>
      </p:sp>
      <p:grpSp>
        <p:nvGrpSpPr>
          <p:cNvPr id="23" name="object 23"/>
          <p:cNvGrpSpPr/>
          <p:nvPr/>
        </p:nvGrpSpPr>
        <p:grpSpPr>
          <a:xfrm>
            <a:off x="7483919" y="4754994"/>
            <a:ext cx="955040" cy="492125"/>
            <a:chOff x="7483919" y="4754994"/>
            <a:chExt cx="955040" cy="492125"/>
          </a:xfrm>
        </p:grpSpPr>
        <p:sp>
          <p:nvSpPr>
            <p:cNvPr id="24" name="object 24"/>
            <p:cNvSpPr/>
            <p:nvPr/>
          </p:nvSpPr>
          <p:spPr>
            <a:xfrm>
              <a:off x="7496619" y="4767694"/>
              <a:ext cx="929640" cy="466725"/>
            </a:xfrm>
            <a:custGeom>
              <a:avLst/>
              <a:gdLst/>
              <a:ahLst/>
              <a:cxnLst/>
              <a:rect l="l" t="t" r="r" b="b"/>
              <a:pathLst>
                <a:path w="929640" h="466725">
                  <a:moveTo>
                    <a:pt x="929538" y="0"/>
                  </a:moveTo>
                  <a:lnTo>
                    <a:pt x="0" y="0"/>
                  </a:lnTo>
                  <a:lnTo>
                    <a:pt x="0" y="466585"/>
                  </a:lnTo>
                  <a:lnTo>
                    <a:pt x="929538" y="466585"/>
                  </a:lnTo>
                  <a:lnTo>
                    <a:pt x="929538" y="0"/>
                  </a:lnTo>
                  <a:close/>
                </a:path>
              </a:pathLst>
            </a:custGeom>
            <a:solidFill>
              <a:srgbClr val="E6BC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7496619" y="4767694"/>
              <a:ext cx="929640" cy="466725"/>
            </a:xfrm>
            <a:custGeom>
              <a:avLst/>
              <a:gdLst/>
              <a:ahLst/>
              <a:cxnLst/>
              <a:rect l="l" t="t" r="r" b="b"/>
              <a:pathLst>
                <a:path w="929640" h="466725">
                  <a:moveTo>
                    <a:pt x="0" y="0"/>
                  </a:moveTo>
                  <a:lnTo>
                    <a:pt x="929536" y="0"/>
                  </a:lnTo>
                  <a:lnTo>
                    <a:pt x="929536" y="466588"/>
                  </a:lnTo>
                  <a:lnTo>
                    <a:pt x="0" y="46658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7509319" y="4834635"/>
            <a:ext cx="90424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065" marR="257810" indent="13335">
              <a:lnSpc>
                <a:spcPct val="100000"/>
              </a:lnSpc>
              <a:spcBef>
                <a:spcPts val="100"/>
              </a:spcBef>
            </a:pPr>
            <a:r>
              <a:rPr sz="1000" spc="-10">
                <a:latin typeface="Arial"/>
                <a:cs typeface="Arial"/>
              </a:rPr>
              <a:t>Model  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 spc="-10">
                <a:latin typeface="Arial"/>
                <a:cs typeface="Arial"/>
              </a:rPr>
              <a:t>e</a:t>
            </a:r>
            <a:r>
              <a:rPr sz="1000">
                <a:latin typeface="Arial"/>
                <a:cs typeface="Arial"/>
              </a:rPr>
              <a:t>s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n</a:t>
            </a:r>
            <a:r>
              <a:rPr sz="1000">
                <a:latin typeface="Arial"/>
                <a:cs typeface="Arial"/>
              </a:rPr>
              <a:t>g</a:t>
            </a:r>
          </a:p>
        </p:txBody>
      </p:sp>
      <p:grpSp>
        <p:nvGrpSpPr>
          <p:cNvPr id="27" name="object 27"/>
          <p:cNvGrpSpPr/>
          <p:nvPr/>
        </p:nvGrpSpPr>
        <p:grpSpPr>
          <a:xfrm>
            <a:off x="1544358" y="4448251"/>
            <a:ext cx="8110855" cy="1714500"/>
            <a:chOff x="1544358" y="4448251"/>
            <a:chExt cx="8110855" cy="1714500"/>
          </a:xfrm>
        </p:grpSpPr>
        <p:sp>
          <p:nvSpPr>
            <p:cNvPr id="28" name="object 28"/>
            <p:cNvSpPr/>
            <p:nvPr/>
          </p:nvSpPr>
          <p:spPr>
            <a:xfrm>
              <a:off x="1544358" y="4448251"/>
              <a:ext cx="1403350" cy="537210"/>
            </a:xfrm>
            <a:custGeom>
              <a:avLst/>
              <a:gdLst/>
              <a:ahLst/>
              <a:cxnLst/>
              <a:rect l="l" t="t" r="r" b="b"/>
              <a:pathLst>
                <a:path w="1403350" h="537210">
                  <a:moveTo>
                    <a:pt x="1326794" y="460692"/>
                  </a:moveTo>
                  <a:lnTo>
                    <a:pt x="1326794" y="536892"/>
                  </a:lnTo>
                  <a:lnTo>
                    <a:pt x="1393469" y="503555"/>
                  </a:lnTo>
                  <a:lnTo>
                    <a:pt x="1339494" y="503555"/>
                  </a:lnTo>
                  <a:lnTo>
                    <a:pt x="1339494" y="494030"/>
                  </a:lnTo>
                  <a:lnTo>
                    <a:pt x="1393469" y="494030"/>
                  </a:lnTo>
                  <a:lnTo>
                    <a:pt x="1326794" y="460692"/>
                  </a:lnTo>
                  <a:close/>
                </a:path>
                <a:path w="1403350" h="537210">
                  <a:moveTo>
                    <a:pt x="9525" y="0"/>
                  </a:moveTo>
                  <a:lnTo>
                    <a:pt x="0" y="0"/>
                  </a:lnTo>
                  <a:lnTo>
                    <a:pt x="0" y="501421"/>
                  </a:lnTo>
                  <a:lnTo>
                    <a:pt x="2133" y="503555"/>
                  </a:lnTo>
                  <a:lnTo>
                    <a:pt x="1326794" y="503555"/>
                  </a:lnTo>
                  <a:lnTo>
                    <a:pt x="1326794" y="498792"/>
                  </a:lnTo>
                  <a:lnTo>
                    <a:pt x="9525" y="498792"/>
                  </a:lnTo>
                  <a:lnTo>
                    <a:pt x="4762" y="494030"/>
                  </a:lnTo>
                  <a:lnTo>
                    <a:pt x="9525" y="494030"/>
                  </a:lnTo>
                  <a:lnTo>
                    <a:pt x="9525" y="0"/>
                  </a:lnTo>
                  <a:close/>
                </a:path>
                <a:path w="1403350" h="537210">
                  <a:moveTo>
                    <a:pt x="1393469" y="494030"/>
                  </a:moveTo>
                  <a:lnTo>
                    <a:pt x="1339494" y="494030"/>
                  </a:lnTo>
                  <a:lnTo>
                    <a:pt x="1339494" y="503555"/>
                  </a:lnTo>
                  <a:lnTo>
                    <a:pt x="1393469" y="503555"/>
                  </a:lnTo>
                  <a:lnTo>
                    <a:pt x="1402994" y="498792"/>
                  </a:lnTo>
                  <a:lnTo>
                    <a:pt x="1393469" y="494030"/>
                  </a:lnTo>
                  <a:close/>
                </a:path>
                <a:path w="1403350" h="537210">
                  <a:moveTo>
                    <a:pt x="9525" y="494030"/>
                  </a:moveTo>
                  <a:lnTo>
                    <a:pt x="4762" y="494030"/>
                  </a:lnTo>
                  <a:lnTo>
                    <a:pt x="9525" y="498792"/>
                  </a:lnTo>
                  <a:lnTo>
                    <a:pt x="9525" y="494030"/>
                  </a:lnTo>
                  <a:close/>
                </a:path>
                <a:path w="1403350" h="537210">
                  <a:moveTo>
                    <a:pt x="1326794" y="494030"/>
                  </a:moveTo>
                  <a:lnTo>
                    <a:pt x="9525" y="494030"/>
                  </a:lnTo>
                  <a:lnTo>
                    <a:pt x="9525" y="498792"/>
                  </a:lnTo>
                  <a:lnTo>
                    <a:pt x="1326794" y="498792"/>
                  </a:lnTo>
                  <a:lnTo>
                    <a:pt x="1326794" y="49403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8366696" y="5466715"/>
              <a:ext cx="1289050" cy="695960"/>
            </a:xfrm>
            <a:custGeom>
              <a:avLst/>
              <a:gdLst/>
              <a:ahLst/>
              <a:cxnLst/>
              <a:rect l="l" t="t" r="r" b="b"/>
              <a:pathLst>
                <a:path w="1289050" h="695960">
                  <a:moveTo>
                    <a:pt x="1288516" y="0"/>
                  </a:moveTo>
                  <a:lnTo>
                    <a:pt x="0" y="0"/>
                  </a:lnTo>
                  <a:lnTo>
                    <a:pt x="0" y="695872"/>
                  </a:lnTo>
                  <a:lnTo>
                    <a:pt x="1288516" y="695872"/>
                  </a:lnTo>
                  <a:lnTo>
                    <a:pt x="1288516" y="0"/>
                  </a:lnTo>
                  <a:close/>
                </a:path>
              </a:pathLst>
            </a:custGeom>
            <a:solidFill>
              <a:srgbClr val="D4F7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8366696" y="5466715"/>
            <a:ext cx="1289050" cy="695960"/>
          </a:xfrm>
          <a:prstGeom prst="rect">
            <a:avLst/>
          </a:prstGeom>
          <a:ln w="25400">
            <a:solidFill>
              <a:srgbClr val="7F7F7F"/>
            </a:solidFill>
          </a:ln>
        </p:spPr>
        <p:txBody>
          <a:bodyPr vert="horz" wrap="square" lIns="0" tIns="45085" rIns="0" bIns="0" rtlCol="0">
            <a:spAutoFit/>
          </a:bodyPr>
          <a:lstStyle/>
          <a:p>
            <a:pPr marL="292100">
              <a:lnSpc>
                <a:spcPct val="100000"/>
              </a:lnSpc>
              <a:spcBef>
                <a:spcPts val="355"/>
              </a:spcBef>
            </a:pPr>
            <a:r>
              <a:rPr sz="1000" spc="-5">
                <a:latin typeface="Arial"/>
                <a:cs typeface="Arial"/>
              </a:rPr>
              <a:t>Experiments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4223778" y="5309171"/>
            <a:ext cx="5058410" cy="934085"/>
            <a:chOff x="4223778" y="5309171"/>
            <a:chExt cx="5058410" cy="934085"/>
          </a:xfrm>
        </p:grpSpPr>
        <p:sp>
          <p:nvSpPr>
            <p:cNvPr id="32" name="object 32"/>
            <p:cNvSpPr/>
            <p:nvPr/>
          </p:nvSpPr>
          <p:spPr>
            <a:xfrm>
              <a:off x="8764015" y="5712433"/>
              <a:ext cx="517829" cy="18646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709589" y="5309171"/>
              <a:ext cx="2657475" cy="544195"/>
            </a:xfrm>
            <a:custGeom>
              <a:avLst/>
              <a:gdLst/>
              <a:ahLst/>
              <a:cxnLst/>
              <a:rect l="l" t="t" r="r" b="b"/>
              <a:pathLst>
                <a:path w="2657475" h="544195">
                  <a:moveTo>
                    <a:pt x="2580906" y="467377"/>
                  </a:moveTo>
                  <a:lnTo>
                    <a:pt x="2580906" y="543577"/>
                  </a:lnTo>
                  <a:lnTo>
                    <a:pt x="2647581" y="510240"/>
                  </a:lnTo>
                  <a:lnTo>
                    <a:pt x="2593606" y="510240"/>
                  </a:lnTo>
                  <a:lnTo>
                    <a:pt x="2593606" y="500715"/>
                  </a:lnTo>
                  <a:lnTo>
                    <a:pt x="2647581" y="500715"/>
                  </a:lnTo>
                  <a:lnTo>
                    <a:pt x="2580906" y="467377"/>
                  </a:lnTo>
                  <a:close/>
                </a:path>
                <a:path w="2657475" h="544195">
                  <a:moveTo>
                    <a:pt x="42862" y="63499"/>
                  </a:moveTo>
                  <a:lnTo>
                    <a:pt x="33337" y="63499"/>
                  </a:lnTo>
                  <a:lnTo>
                    <a:pt x="33337" y="508107"/>
                  </a:lnTo>
                  <a:lnTo>
                    <a:pt x="35471" y="510240"/>
                  </a:lnTo>
                  <a:lnTo>
                    <a:pt x="2580906" y="510240"/>
                  </a:lnTo>
                  <a:lnTo>
                    <a:pt x="2580906" y="505477"/>
                  </a:lnTo>
                  <a:lnTo>
                    <a:pt x="42862" y="505477"/>
                  </a:lnTo>
                  <a:lnTo>
                    <a:pt x="38100" y="500715"/>
                  </a:lnTo>
                  <a:lnTo>
                    <a:pt x="42862" y="500715"/>
                  </a:lnTo>
                  <a:lnTo>
                    <a:pt x="42862" y="63499"/>
                  </a:lnTo>
                  <a:close/>
                </a:path>
                <a:path w="2657475" h="544195">
                  <a:moveTo>
                    <a:pt x="2647581" y="500715"/>
                  </a:moveTo>
                  <a:lnTo>
                    <a:pt x="2593606" y="500715"/>
                  </a:lnTo>
                  <a:lnTo>
                    <a:pt x="2593606" y="510240"/>
                  </a:lnTo>
                  <a:lnTo>
                    <a:pt x="2647581" y="510240"/>
                  </a:lnTo>
                  <a:lnTo>
                    <a:pt x="2657106" y="505477"/>
                  </a:lnTo>
                  <a:lnTo>
                    <a:pt x="2647581" y="500715"/>
                  </a:lnTo>
                  <a:close/>
                </a:path>
                <a:path w="2657475" h="544195">
                  <a:moveTo>
                    <a:pt x="42862" y="500715"/>
                  </a:moveTo>
                  <a:lnTo>
                    <a:pt x="38100" y="500715"/>
                  </a:lnTo>
                  <a:lnTo>
                    <a:pt x="42862" y="505477"/>
                  </a:lnTo>
                  <a:lnTo>
                    <a:pt x="42862" y="500715"/>
                  </a:lnTo>
                  <a:close/>
                </a:path>
                <a:path w="2657475" h="544195">
                  <a:moveTo>
                    <a:pt x="2580906" y="500715"/>
                  </a:moveTo>
                  <a:lnTo>
                    <a:pt x="42862" y="500715"/>
                  </a:lnTo>
                  <a:lnTo>
                    <a:pt x="42862" y="505477"/>
                  </a:lnTo>
                  <a:lnTo>
                    <a:pt x="2580906" y="505477"/>
                  </a:lnTo>
                  <a:lnTo>
                    <a:pt x="2580906" y="500715"/>
                  </a:lnTo>
                  <a:close/>
                </a:path>
                <a:path w="2657475" h="544195">
                  <a:moveTo>
                    <a:pt x="38100" y="0"/>
                  </a:moveTo>
                  <a:lnTo>
                    <a:pt x="0" y="76199"/>
                  </a:lnTo>
                  <a:lnTo>
                    <a:pt x="33337" y="76199"/>
                  </a:lnTo>
                  <a:lnTo>
                    <a:pt x="33337" y="63499"/>
                  </a:lnTo>
                  <a:lnTo>
                    <a:pt x="69850" y="63499"/>
                  </a:lnTo>
                  <a:lnTo>
                    <a:pt x="38100" y="0"/>
                  </a:lnTo>
                  <a:close/>
                </a:path>
                <a:path w="2657475" h="544195">
                  <a:moveTo>
                    <a:pt x="69850" y="63499"/>
                  </a:moveTo>
                  <a:lnTo>
                    <a:pt x="42862" y="63499"/>
                  </a:lnTo>
                  <a:lnTo>
                    <a:pt x="42862" y="76199"/>
                  </a:lnTo>
                  <a:lnTo>
                    <a:pt x="76200" y="76199"/>
                  </a:lnTo>
                  <a:lnTo>
                    <a:pt x="69850" y="634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4223778" y="5891330"/>
              <a:ext cx="1060068" cy="35133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3526980" y="5594010"/>
            <a:ext cx="456565" cy="191135"/>
          </a:xfrm>
          <a:prstGeom prst="rect">
            <a:avLst/>
          </a:prstGeom>
          <a:solidFill>
            <a:srgbClr val="D4F7FF"/>
          </a:solidFill>
          <a:ln w="25400">
            <a:solidFill>
              <a:srgbClr val="7F7F7F"/>
            </a:solidFill>
          </a:ln>
        </p:spPr>
        <p:txBody>
          <a:bodyPr vert="horz" wrap="square" lIns="0" tIns="18415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145"/>
              </a:spcBef>
            </a:pPr>
            <a:r>
              <a:rPr sz="1000" spc="-5">
                <a:latin typeface="Arial"/>
                <a:cs typeface="Arial"/>
              </a:rPr>
              <a:t>PC</a:t>
            </a:r>
            <a:endParaRPr sz="100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526980" y="5971574"/>
            <a:ext cx="456565" cy="191135"/>
          </a:xfrm>
          <a:prstGeom prst="rect">
            <a:avLst/>
          </a:prstGeom>
          <a:solidFill>
            <a:srgbClr val="D4F7FF"/>
          </a:solidFill>
          <a:ln w="25400">
            <a:solidFill>
              <a:srgbClr val="7F7F7F"/>
            </a:solidFill>
          </a:ln>
        </p:spPr>
        <p:txBody>
          <a:bodyPr vert="horz" wrap="square" lIns="0" tIns="18415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145"/>
              </a:spcBef>
            </a:pPr>
            <a:r>
              <a:rPr sz="1000" spc="-5">
                <a:latin typeface="Arial"/>
                <a:cs typeface="Arial"/>
              </a:rPr>
              <a:t>PC</a:t>
            </a:r>
            <a:endParaRPr sz="10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526980" y="6349056"/>
            <a:ext cx="456565" cy="191135"/>
          </a:xfrm>
          <a:prstGeom prst="rect">
            <a:avLst/>
          </a:prstGeom>
          <a:solidFill>
            <a:srgbClr val="D4F7FF"/>
          </a:solidFill>
          <a:ln w="25400">
            <a:solidFill>
              <a:srgbClr val="7F7F7F"/>
            </a:solidFill>
          </a:ln>
        </p:spPr>
        <p:txBody>
          <a:bodyPr vert="horz" wrap="square" lIns="0" tIns="19050" rIns="0" bIns="0" rtlCol="0">
            <a:spAutoFit/>
          </a:bodyPr>
          <a:lstStyle/>
          <a:p>
            <a:pPr marL="139700">
              <a:lnSpc>
                <a:spcPct val="100000"/>
              </a:lnSpc>
              <a:spcBef>
                <a:spcPts val="150"/>
              </a:spcBef>
            </a:pPr>
            <a:r>
              <a:rPr sz="1000" spc="-5">
                <a:latin typeface="Arial"/>
                <a:cs typeface="Arial"/>
              </a:rPr>
              <a:t>PC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3983456" y="5309171"/>
            <a:ext cx="1663064" cy="1174115"/>
            <a:chOff x="3983456" y="5309171"/>
            <a:chExt cx="1663064" cy="1174115"/>
          </a:xfrm>
        </p:grpSpPr>
        <p:sp>
          <p:nvSpPr>
            <p:cNvPr id="39" name="object 39"/>
            <p:cNvSpPr/>
            <p:nvPr/>
          </p:nvSpPr>
          <p:spPr>
            <a:xfrm>
              <a:off x="3983456" y="5651423"/>
              <a:ext cx="808990" cy="831850"/>
            </a:xfrm>
            <a:custGeom>
              <a:avLst/>
              <a:gdLst/>
              <a:ahLst/>
              <a:cxnLst/>
              <a:rect l="l" t="t" r="r" b="b"/>
              <a:pathLst>
                <a:path w="808989" h="831850">
                  <a:moveTo>
                    <a:pt x="808456" y="667448"/>
                  </a:moveTo>
                  <a:lnTo>
                    <a:pt x="802106" y="654748"/>
                  </a:lnTo>
                  <a:lnTo>
                    <a:pt x="770356" y="591248"/>
                  </a:lnTo>
                  <a:lnTo>
                    <a:pt x="732256" y="667448"/>
                  </a:lnTo>
                  <a:lnTo>
                    <a:pt x="765594" y="667448"/>
                  </a:lnTo>
                  <a:lnTo>
                    <a:pt x="765594" y="788377"/>
                  </a:lnTo>
                  <a:lnTo>
                    <a:pt x="76200" y="788377"/>
                  </a:lnTo>
                  <a:lnTo>
                    <a:pt x="76200" y="755040"/>
                  </a:lnTo>
                  <a:lnTo>
                    <a:pt x="0" y="793140"/>
                  </a:lnTo>
                  <a:lnTo>
                    <a:pt x="76200" y="831240"/>
                  </a:lnTo>
                  <a:lnTo>
                    <a:pt x="76200" y="797902"/>
                  </a:lnTo>
                  <a:lnTo>
                    <a:pt x="772985" y="797902"/>
                  </a:lnTo>
                  <a:lnTo>
                    <a:pt x="775119" y="795782"/>
                  </a:lnTo>
                  <a:lnTo>
                    <a:pt x="775119" y="793140"/>
                  </a:lnTo>
                  <a:lnTo>
                    <a:pt x="775119" y="788377"/>
                  </a:lnTo>
                  <a:lnTo>
                    <a:pt x="775119" y="667448"/>
                  </a:lnTo>
                  <a:lnTo>
                    <a:pt x="808456" y="667448"/>
                  </a:lnTo>
                  <a:close/>
                </a:path>
                <a:path w="808989" h="831850">
                  <a:moveTo>
                    <a:pt x="808456" y="163715"/>
                  </a:moveTo>
                  <a:lnTo>
                    <a:pt x="775119" y="163715"/>
                  </a:lnTo>
                  <a:lnTo>
                    <a:pt x="775119" y="42862"/>
                  </a:lnTo>
                  <a:lnTo>
                    <a:pt x="775119" y="38100"/>
                  </a:lnTo>
                  <a:lnTo>
                    <a:pt x="775119" y="35471"/>
                  </a:lnTo>
                  <a:lnTo>
                    <a:pt x="772985" y="33337"/>
                  </a:lnTo>
                  <a:lnTo>
                    <a:pt x="76200" y="33337"/>
                  </a:lnTo>
                  <a:lnTo>
                    <a:pt x="76200" y="0"/>
                  </a:lnTo>
                  <a:lnTo>
                    <a:pt x="0" y="38100"/>
                  </a:lnTo>
                  <a:lnTo>
                    <a:pt x="76200" y="76200"/>
                  </a:lnTo>
                  <a:lnTo>
                    <a:pt x="76200" y="42862"/>
                  </a:lnTo>
                  <a:lnTo>
                    <a:pt x="765594" y="42862"/>
                  </a:lnTo>
                  <a:lnTo>
                    <a:pt x="765594" y="163715"/>
                  </a:lnTo>
                  <a:lnTo>
                    <a:pt x="732256" y="163715"/>
                  </a:lnTo>
                  <a:lnTo>
                    <a:pt x="770356" y="239915"/>
                  </a:lnTo>
                  <a:lnTo>
                    <a:pt x="802106" y="176415"/>
                  </a:lnTo>
                  <a:lnTo>
                    <a:pt x="808456" y="16371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983456" y="6028926"/>
              <a:ext cx="240322" cy="7622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5283847" y="5309171"/>
              <a:ext cx="362585" cy="796290"/>
            </a:xfrm>
            <a:custGeom>
              <a:avLst/>
              <a:gdLst/>
              <a:ahLst/>
              <a:cxnLst/>
              <a:rect l="l" t="t" r="r" b="b"/>
              <a:pathLst>
                <a:path w="362585" h="796289">
                  <a:moveTo>
                    <a:pt x="76200" y="719729"/>
                  </a:moveTo>
                  <a:lnTo>
                    <a:pt x="0" y="757829"/>
                  </a:lnTo>
                  <a:lnTo>
                    <a:pt x="76200" y="795929"/>
                  </a:lnTo>
                  <a:lnTo>
                    <a:pt x="76200" y="762591"/>
                  </a:lnTo>
                  <a:lnTo>
                    <a:pt x="63500" y="762591"/>
                  </a:lnTo>
                  <a:lnTo>
                    <a:pt x="63500" y="753066"/>
                  </a:lnTo>
                  <a:lnTo>
                    <a:pt x="76200" y="753066"/>
                  </a:lnTo>
                  <a:lnTo>
                    <a:pt x="76200" y="719729"/>
                  </a:lnTo>
                  <a:close/>
                </a:path>
                <a:path w="362585" h="796289">
                  <a:moveTo>
                    <a:pt x="76200" y="753066"/>
                  </a:moveTo>
                  <a:lnTo>
                    <a:pt x="63500" y="753066"/>
                  </a:lnTo>
                  <a:lnTo>
                    <a:pt x="63500" y="762591"/>
                  </a:lnTo>
                  <a:lnTo>
                    <a:pt x="76200" y="762591"/>
                  </a:lnTo>
                  <a:lnTo>
                    <a:pt x="76200" y="753066"/>
                  </a:lnTo>
                  <a:close/>
                </a:path>
                <a:path w="362585" h="796289">
                  <a:moveTo>
                    <a:pt x="319481" y="753066"/>
                  </a:moveTo>
                  <a:lnTo>
                    <a:pt x="76200" y="753066"/>
                  </a:lnTo>
                  <a:lnTo>
                    <a:pt x="76200" y="762591"/>
                  </a:lnTo>
                  <a:lnTo>
                    <a:pt x="326872" y="762591"/>
                  </a:lnTo>
                  <a:lnTo>
                    <a:pt x="329006" y="760459"/>
                  </a:lnTo>
                  <a:lnTo>
                    <a:pt x="329006" y="757829"/>
                  </a:lnTo>
                  <a:lnTo>
                    <a:pt x="319481" y="757829"/>
                  </a:lnTo>
                  <a:lnTo>
                    <a:pt x="319481" y="753066"/>
                  </a:lnTo>
                  <a:close/>
                </a:path>
                <a:path w="362585" h="796289">
                  <a:moveTo>
                    <a:pt x="329006" y="63499"/>
                  </a:moveTo>
                  <a:lnTo>
                    <a:pt x="319481" y="63499"/>
                  </a:lnTo>
                  <a:lnTo>
                    <a:pt x="319481" y="757829"/>
                  </a:lnTo>
                  <a:lnTo>
                    <a:pt x="324243" y="753066"/>
                  </a:lnTo>
                  <a:lnTo>
                    <a:pt x="329006" y="753066"/>
                  </a:lnTo>
                  <a:lnTo>
                    <a:pt x="329006" y="63499"/>
                  </a:lnTo>
                  <a:close/>
                </a:path>
                <a:path w="362585" h="796289">
                  <a:moveTo>
                    <a:pt x="329006" y="753066"/>
                  </a:moveTo>
                  <a:lnTo>
                    <a:pt x="324243" y="753066"/>
                  </a:lnTo>
                  <a:lnTo>
                    <a:pt x="319481" y="757829"/>
                  </a:lnTo>
                  <a:lnTo>
                    <a:pt x="329006" y="757829"/>
                  </a:lnTo>
                  <a:lnTo>
                    <a:pt x="329006" y="753066"/>
                  </a:lnTo>
                  <a:close/>
                </a:path>
                <a:path w="362585" h="796289">
                  <a:moveTo>
                    <a:pt x="324243" y="0"/>
                  </a:moveTo>
                  <a:lnTo>
                    <a:pt x="286143" y="76199"/>
                  </a:lnTo>
                  <a:lnTo>
                    <a:pt x="319481" y="76199"/>
                  </a:lnTo>
                  <a:lnTo>
                    <a:pt x="319481" y="63499"/>
                  </a:lnTo>
                  <a:lnTo>
                    <a:pt x="355993" y="63499"/>
                  </a:lnTo>
                  <a:lnTo>
                    <a:pt x="324243" y="0"/>
                  </a:lnTo>
                  <a:close/>
                </a:path>
                <a:path w="362585" h="796289">
                  <a:moveTo>
                    <a:pt x="355993" y="63499"/>
                  </a:moveTo>
                  <a:lnTo>
                    <a:pt x="329006" y="63499"/>
                  </a:lnTo>
                  <a:lnTo>
                    <a:pt x="329006" y="76199"/>
                  </a:lnTo>
                  <a:lnTo>
                    <a:pt x="362343" y="76199"/>
                  </a:lnTo>
                  <a:lnTo>
                    <a:pt x="355993" y="634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2860052" y="3060509"/>
            <a:ext cx="892175" cy="409575"/>
          </a:xfrm>
          <a:prstGeom prst="rect">
            <a:avLst/>
          </a:prstGeom>
          <a:solidFill>
            <a:srgbClr val="E6BCFE"/>
          </a:solidFill>
          <a:ln w="25400">
            <a:solidFill>
              <a:srgbClr val="7F7F7F"/>
            </a:solidFill>
          </a:ln>
        </p:spPr>
        <p:txBody>
          <a:bodyPr vert="horz" wrap="square" lIns="0" tIns="52069" rIns="0" bIns="0" rtlCol="0">
            <a:spAutoFit/>
          </a:bodyPr>
          <a:lstStyle/>
          <a:p>
            <a:pPr marL="234315" marR="227965" indent="77470">
              <a:lnSpc>
                <a:spcPct val="100000"/>
              </a:lnSpc>
              <a:spcBef>
                <a:spcPts val="409"/>
              </a:spcBef>
            </a:pPr>
            <a:r>
              <a:rPr sz="1000" spc="-5">
                <a:latin typeface="Arial"/>
                <a:cs typeface="Arial"/>
              </a:rPr>
              <a:t>Data  </a:t>
            </a:r>
            <a:r>
              <a:rPr sz="1000">
                <a:latin typeface="Arial"/>
                <a:cs typeface="Arial"/>
              </a:rPr>
              <a:t>m</a:t>
            </a:r>
            <a:r>
              <a:rPr sz="1000" spc="-10">
                <a:latin typeface="Arial"/>
                <a:cs typeface="Arial"/>
              </a:rPr>
              <a:t>on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 spc="-10">
                <a:latin typeface="Arial"/>
                <a:cs typeface="Arial"/>
              </a:rPr>
              <a:t>o</a:t>
            </a:r>
            <a:r>
              <a:rPr sz="1000">
                <a:latin typeface="Arial"/>
                <a:cs typeface="Arial"/>
              </a:rPr>
              <a:t>r</a:t>
            </a:r>
          </a:p>
        </p:txBody>
      </p:sp>
      <p:sp>
        <p:nvSpPr>
          <p:cNvPr id="43" name="object 43"/>
          <p:cNvSpPr txBox="1"/>
          <p:nvPr/>
        </p:nvSpPr>
        <p:spPr>
          <a:xfrm>
            <a:off x="8416404" y="3022854"/>
            <a:ext cx="998855" cy="443230"/>
          </a:xfrm>
          <a:prstGeom prst="rect">
            <a:avLst/>
          </a:prstGeom>
          <a:solidFill>
            <a:srgbClr val="EBEBEB"/>
          </a:solidFill>
          <a:ln w="25400">
            <a:solidFill>
              <a:srgbClr val="7F7F7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31775">
              <a:lnSpc>
                <a:spcPts val="1140"/>
              </a:lnSpc>
            </a:pPr>
            <a:r>
              <a:rPr sz="1000" spc="-5">
                <a:latin typeface="Arial"/>
                <a:cs typeface="Arial"/>
              </a:rPr>
              <a:t>CD-stage</a:t>
            </a:r>
            <a:endParaRPr sz="1000">
              <a:latin typeface="Arial"/>
              <a:cs typeface="Arial"/>
            </a:endParaRPr>
          </a:p>
          <a:p>
            <a:pPr marL="182880" marR="154305" indent="-20955">
              <a:lnSpc>
                <a:spcPct val="100000"/>
              </a:lnSpc>
            </a:pPr>
            <a:r>
              <a:rPr sz="1000" spc="-5">
                <a:latin typeface="Arial"/>
                <a:cs typeface="Arial"/>
              </a:rPr>
              <a:t>“Putting</a:t>
            </a:r>
            <a:r>
              <a:rPr sz="1000" spc="-90">
                <a:latin typeface="Arial"/>
                <a:cs typeface="Arial"/>
              </a:rPr>
              <a:t> </a:t>
            </a:r>
            <a:r>
              <a:rPr sz="1000" spc="-5">
                <a:latin typeface="Arial"/>
                <a:cs typeface="Arial"/>
              </a:rPr>
              <a:t>into  </a:t>
            </a:r>
            <a:r>
              <a:rPr sz="1000" spc="-10">
                <a:latin typeface="Arial"/>
                <a:cs typeface="Arial"/>
              </a:rPr>
              <a:t>production”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6985419" y="2210117"/>
            <a:ext cx="1968500" cy="2741930"/>
            <a:chOff x="6985419" y="2210117"/>
            <a:chExt cx="1968500" cy="2741930"/>
          </a:xfrm>
        </p:grpSpPr>
        <p:sp>
          <p:nvSpPr>
            <p:cNvPr id="45" name="object 45"/>
            <p:cNvSpPr/>
            <p:nvPr/>
          </p:nvSpPr>
          <p:spPr>
            <a:xfrm>
              <a:off x="6998119" y="2222817"/>
              <a:ext cx="929640" cy="466725"/>
            </a:xfrm>
            <a:custGeom>
              <a:avLst/>
              <a:gdLst/>
              <a:ahLst/>
              <a:cxnLst/>
              <a:rect l="l" t="t" r="r" b="b"/>
              <a:pathLst>
                <a:path w="929640" h="466725">
                  <a:moveTo>
                    <a:pt x="0" y="0"/>
                  </a:moveTo>
                  <a:lnTo>
                    <a:pt x="929536" y="0"/>
                  </a:lnTo>
                  <a:lnTo>
                    <a:pt x="929536" y="466588"/>
                  </a:lnTo>
                  <a:lnTo>
                    <a:pt x="0" y="46658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8548014" y="3465804"/>
              <a:ext cx="405765" cy="1486535"/>
            </a:xfrm>
            <a:custGeom>
              <a:avLst/>
              <a:gdLst/>
              <a:ahLst/>
              <a:cxnLst/>
              <a:rect l="l" t="t" r="r" b="b"/>
              <a:pathLst>
                <a:path w="405765" h="1486535">
                  <a:moveTo>
                    <a:pt x="362877" y="1476476"/>
                  </a:moveTo>
                  <a:lnTo>
                    <a:pt x="0" y="1476476"/>
                  </a:lnTo>
                  <a:lnTo>
                    <a:pt x="0" y="1486001"/>
                  </a:lnTo>
                  <a:lnTo>
                    <a:pt x="370268" y="1486001"/>
                  </a:lnTo>
                  <a:lnTo>
                    <a:pt x="372402" y="1483867"/>
                  </a:lnTo>
                  <a:lnTo>
                    <a:pt x="372402" y="1481239"/>
                  </a:lnTo>
                  <a:lnTo>
                    <a:pt x="362877" y="1481239"/>
                  </a:lnTo>
                  <a:lnTo>
                    <a:pt x="362877" y="1476476"/>
                  </a:lnTo>
                  <a:close/>
                </a:path>
                <a:path w="405765" h="1486535">
                  <a:moveTo>
                    <a:pt x="372402" y="63487"/>
                  </a:moveTo>
                  <a:lnTo>
                    <a:pt x="362877" y="63487"/>
                  </a:lnTo>
                  <a:lnTo>
                    <a:pt x="362877" y="1481239"/>
                  </a:lnTo>
                  <a:lnTo>
                    <a:pt x="367639" y="1476476"/>
                  </a:lnTo>
                  <a:lnTo>
                    <a:pt x="372402" y="1476476"/>
                  </a:lnTo>
                  <a:lnTo>
                    <a:pt x="372402" y="63487"/>
                  </a:lnTo>
                  <a:close/>
                </a:path>
                <a:path w="405765" h="1486535">
                  <a:moveTo>
                    <a:pt x="372402" y="1476476"/>
                  </a:moveTo>
                  <a:lnTo>
                    <a:pt x="367639" y="1476476"/>
                  </a:lnTo>
                  <a:lnTo>
                    <a:pt x="362877" y="1481239"/>
                  </a:lnTo>
                  <a:lnTo>
                    <a:pt x="372402" y="1481239"/>
                  </a:lnTo>
                  <a:lnTo>
                    <a:pt x="372402" y="1476476"/>
                  </a:lnTo>
                  <a:close/>
                </a:path>
                <a:path w="405765" h="1486535">
                  <a:moveTo>
                    <a:pt x="367639" y="0"/>
                  </a:moveTo>
                  <a:lnTo>
                    <a:pt x="329539" y="76200"/>
                  </a:lnTo>
                  <a:lnTo>
                    <a:pt x="362877" y="76200"/>
                  </a:lnTo>
                  <a:lnTo>
                    <a:pt x="362877" y="63487"/>
                  </a:lnTo>
                  <a:lnTo>
                    <a:pt x="399383" y="63487"/>
                  </a:lnTo>
                  <a:lnTo>
                    <a:pt x="367639" y="0"/>
                  </a:lnTo>
                  <a:close/>
                </a:path>
                <a:path w="405765" h="1486535">
                  <a:moveTo>
                    <a:pt x="399383" y="63487"/>
                  </a:moveTo>
                  <a:lnTo>
                    <a:pt x="372402" y="63487"/>
                  </a:lnTo>
                  <a:lnTo>
                    <a:pt x="372402" y="76200"/>
                  </a:lnTo>
                  <a:lnTo>
                    <a:pt x="405739" y="76200"/>
                  </a:lnTo>
                  <a:lnTo>
                    <a:pt x="399383" y="6348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7010819" y="2233295"/>
            <a:ext cx="904240" cy="462915"/>
          </a:xfrm>
          <a:prstGeom prst="rect">
            <a:avLst/>
          </a:prstGeom>
          <a:solidFill>
            <a:srgbClr val="D4F7FF"/>
          </a:solidFill>
        </p:spPr>
        <p:txBody>
          <a:bodyPr vert="horz" wrap="square" lIns="0" tIns="0" rIns="0" bIns="0" rtlCol="0">
            <a:spAutoFit/>
          </a:bodyPr>
          <a:lstStyle/>
          <a:p>
            <a:pPr marL="1270" algn="ctr">
              <a:lnSpc>
                <a:spcPts val="1145"/>
              </a:lnSpc>
            </a:pPr>
            <a:r>
              <a:rPr sz="1000">
                <a:latin typeface="Arial"/>
                <a:cs typeface="Arial"/>
              </a:rPr>
              <a:t>ML</a:t>
            </a:r>
          </a:p>
          <a:p>
            <a:pPr marL="170815" marR="162560" algn="ctr">
              <a:lnSpc>
                <a:spcPct val="100000"/>
              </a:lnSpc>
            </a:pPr>
            <a:r>
              <a:rPr sz="1000" spc="-5">
                <a:latin typeface="Arial"/>
                <a:cs typeface="Arial"/>
              </a:rPr>
              <a:t>P</a:t>
            </a:r>
            <a:r>
              <a:rPr sz="1000">
                <a:latin typeface="Arial"/>
                <a:cs typeface="Arial"/>
              </a:rPr>
              <a:t>r</a:t>
            </a:r>
            <a:r>
              <a:rPr sz="1000" spc="-10">
                <a:latin typeface="Arial"/>
                <a:cs typeface="Arial"/>
              </a:rPr>
              <a:t>ed</a:t>
            </a:r>
            <a:r>
              <a:rPr sz="1000">
                <a:latin typeface="Arial"/>
                <a:cs typeface="Arial"/>
              </a:rPr>
              <a:t>ic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o</a:t>
            </a:r>
            <a:r>
              <a:rPr sz="1000">
                <a:latin typeface="Arial"/>
                <a:cs typeface="Arial"/>
              </a:rPr>
              <a:t>n  </a:t>
            </a:r>
            <a:r>
              <a:rPr sz="1000" spc="-5">
                <a:latin typeface="Arial"/>
                <a:cs typeface="Arial"/>
              </a:rPr>
              <a:t>service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2821762" y="2070379"/>
            <a:ext cx="916940" cy="427355"/>
            <a:chOff x="2821762" y="2070379"/>
            <a:chExt cx="916940" cy="427355"/>
          </a:xfrm>
        </p:grpSpPr>
        <p:sp>
          <p:nvSpPr>
            <p:cNvPr id="49" name="object 49"/>
            <p:cNvSpPr/>
            <p:nvPr/>
          </p:nvSpPr>
          <p:spPr>
            <a:xfrm>
              <a:off x="2834462" y="2083079"/>
              <a:ext cx="891540" cy="401955"/>
            </a:xfrm>
            <a:custGeom>
              <a:avLst/>
              <a:gdLst/>
              <a:ahLst/>
              <a:cxnLst/>
              <a:rect l="l" t="t" r="r" b="b"/>
              <a:pathLst>
                <a:path w="891539" h="401955">
                  <a:moveTo>
                    <a:pt x="891425" y="0"/>
                  </a:moveTo>
                  <a:lnTo>
                    <a:pt x="0" y="0"/>
                  </a:lnTo>
                  <a:lnTo>
                    <a:pt x="0" y="401827"/>
                  </a:lnTo>
                  <a:lnTo>
                    <a:pt x="891425" y="401827"/>
                  </a:lnTo>
                  <a:lnTo>
                    <a:pt x="891425" y="0"/>
                  </a:lnTo>
                  <a:close/>
                </a:path>
              </a:pathLst>
            </a:custGeom>
            <a:solidFill>
              <a:srgbClr val="EBEBE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2834462" y="2083079"/>
              <a:ext cx="891540" cy="401955"/>
            </a:xfrm>
            <a:custGeom>
              <a:avLst/>
              <a:gdLst/>
              <a:ahLst/>
              <a:cxnLst/>
              <a:rect l="l" t="t" r="r" b="b"/>
              <a:pathLst>
                <a:path w="891539" h="401955">
                  <a:moveTo>
                    <a:pt x="0" y="0"/>
                  </a:moveTo>
                  <a:lnTo>
                    <a:pt x="891428" y="0"/>
                  </a:lnTo>
                  <a:lnTo>
                    <a:pt x="891428" y="401832"/>
                  </a:lnTo>
                  <a:lnTo>
                    <a:pt x="0" y="401832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2847162" y="2118867"/>
            <a:ext cx="86614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8910" marR="98425" indent="-63500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latin typeface="Arial"/>
                <a:cs typeface="Arial"/>
              </a:rPr>
              <a:t>P</a:t>
            </a:r>
            <a:r>
              <a:rPr sz="1000" spc="-10">
                <a:latin typeface="Arial"/>
                <a:cs typeface="Arial"/>
              </a:rPr>
              <a:t>e</a:t>
            </a:r>
            <a:r>
              <a:rPr sz="1000">
                <a:latin typeface="Arial"/>
                <a:cs typeface="Arial"/>
              </a:rPr>
              <a:t>r</a:t>
            </a:r>
            <a:r>
              <a:rPr sz="1000" spc="-5">
                <a:latin typeface="Arial"/>
                <a:cs typeface="Arial"/>
              </a:rPr>
              <a:t>f</a:t>
            </a:r>
            <a:r>
              <a:rPr sz="1000" spc="-10">
                <a:latin typeface="Arial"/>
                <a:cs typeface="Arial"/>
              </a:rPr>
              <a:t>o</a:t>
            </a:r>
            <a:r>
              <a:rPr sz="1000">
                <a:latin typeface="Arial"/>
                <a:cs typeface="Arial"/>
              </a:rPr>
              <a:t>rm</a:t>
            </a:r>
            <a:r>
              <a:rPr sz="1000" spc="-10">
                <a:latin typeface="Arial"/>
                <a:cs typeface="Arial"/>
              </a:rPr>
              <a:t>an</a:t>
            </a:r>
            <a:r>
              <a:rPr sz="1000">
                <a:latin typeface="Arial"/>
                <a:cs typeface="Arial"/>
              </a:rPr>
              <a:t>c  e</a:t>
            </a:r>
            <a:r>
              <a:rPr sz="1000" spc="-35">
                <a:latin typeface="Arial"/>
                <a:cs typeface="Arial"/>
              </a:rPr>
              <a:t> </a:t>
            </a:r>
            <a:r>
              <a:rPr sz="1000" spc="-10">
                <a:latin typeface="Arial"/>
                <a:cs typeface="Arial"/>
              </a:rPr>
              <a:t>monitor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921034" y="2370658"/>
            <a:ext cx="1256665" cy="816610"/>
            <a:chOff x="921034" y="2370658"/>
            <a:chExt cx="1256665" cy="816610"/>
          </a:xfrm>
        </p:grpSpPr>
        <p:sp>
          <p:nvSpPr>
            <p:cNvPr id="53" name="object 53"/>
            <p:cNvSpPr/>
            <p:nvPr/>
          </p:nvSpPr>
          <p:spPr>
            <a:xfrm>
              <a:off x="933734" y="2383358"/>
              <a:ext cx="1231265" cy="791210"/>
            </a:xfrm>
            <a:custGeom>
              <a:avLst/>
              <a:gdLst/>
              <a:ahLst/>
              <a:cxnLst/>
              <a:rect l="l" t="t" r="r" b="b"/>
              <a:pathLst>
                <a:path w="1231264" h="791210">
                  <a:moveTo>
                    <a:pt x="615386" y="0"/>
                  </a:moveTo>
                  <a:lnTo>
                    <a:pt x="543619" y="886"/>
                  </a:lnTo>
                  <a:lnTo>
                    <a:pt x="474284" y="3480"/>
                  </a:lnTo>
                  <a:lnTo>
                    <a:pt x="407842" y="7683"/>
                  </a:lnTo>
                  <a:lnTo>
                    <a:pt x="344755" y="13395"/>
                  </a:lnTo>
                  <a:lnTo>
                    <a:pt x="285485" y="20517"/>
                  </a:lnTo>
                  <a:lnTo>
                    <a:pt x="230494" y="28952"/>
                  </a:lnTo>
                  <a:lnTo>
                    <a:pt x="180243" y="38600"/>
                  </a:lnTo>
                  <a:lnTo>
                    <a:pt x="135194" y="49361"/>
                  </a:lnTo>
                  <a:lnTo>
                    <a:pt x="95808" y="61138"/>
                  </a:lnTo>
                  <a:lnTo>
                    <a:pt x="35876" y="87341"/>
                  </a:lnTo>
                  <a:lnTo>
                    <a:pt x="4140" y="116418"/>
                  </a:lnTo>
                  <a:lnTo>
                    <a:pt x="0" y="131787"/>
                  </a:lnTo>
                  <a:lnTo>
                    <a:pt x="0" y="658901"/>
                  </a:lnTo>
                  <a:lnTo>
                    <a:pt x="35876" y="703347"/>
                  </a:lnTo>
                  <a:lnTo>
                    <a:pt x="95808" y="729551"/>
                  </a:lnTo>
                  <a:lnTo>
                    <a:pt x="135194" y="741327"/>
                  </a:lnTo>
                  <a:lnTo>
                    <a:pt x="180243" y="752089"/>
                  </a:lnTo>
                  <a:lnTo>
                    <a:pt x="230494" y="761736"/>
                  </a:lnTo>
                  <a:lnTo>
                    <a:pt x="285485" y="770171"/>
                  </a:lnTo>
                  <a:lnTo>
                    <a:pt x="344755" y="777294"/>
                  </a:lnTo>
                  <a:lnTo>
                    <a:pt x="407842" y="783006"/>
                  </a:lnTo>
                  <a:lnTo>
                    <a:pt x="474284" y="787208"/>
                  </a:lnTo>
                  <a:lnTo>
                    <a:pt x="543619" y="789802"/>
                  </a:lnTo>
                  <a:lnTo>
                    <a:pt x="615386" y="790689"/>
                  </a:lnTo>
                  <a:lnTo>
                    <a:pt x="687154" y="789802"/>
                  </a:lnTo>
                  <a:lnTo>
                    <a:pt x="756491" y="787208"/>
                  </a:lnTo>
                  <a:lnTo>
                    <a:pt x="822934" y="783006"/>
                  </a:lnTo>
                  <a:lnTo>
                    <a:pt x="886022" y="777294"/>
                  </a:lnTo>
                  <a:lnTo>
                    <a:pt x="945292" y="770171"/>
                  </a:lnTo>
                  <a:lnTo>
                    <a:pt x="1000284" y="761736"/>
                  </a:lnTo>
                  <a:lnTo>
                    <a:pt x="1050535" y="752089"/>
                  </a:lnTo>
                  <a:lnTo>
                    <a:pt x="1095584" y="741327"/>
                  </a:lnTo>
                  <a:lnTo>
                    <a:pt x="1134969" y="729551"/>
                  </a:lnTo>
                  <a:lnTo>
                    <a:pt x="1194901" y="703347"/>
                  </a:lnTo>
                  <a:lnTo>
                    <a:pt x="1226637" y="674270"/>
                  </a:lnTo>
                  <a:lnTo>
                    <a:pt x="1230777" y="658901"/>
                  </a:lnTo>
                  <a:lnTo>
                    <a:pt x="1230777" y="131787"/>
                  </a:lnTo>
                  <a:lnTo>
                    <a:pt x="1194901" y="87341"/>
                  </a:lnTo>
                  <a:lnTo>
                    <a:pt x="1134969" y="61138"/>
                  </a:lnTo>
                  <a:lnTo>
                    <a:pt x="1095584" y="49361"/>
                  </a:lnTo>
                  <a:lnTo>
                    <a:pt x="1050535" y="38600"/>
                  </a:lnTo>
                  <a:lnTo>
                    <a:pt x="1000284" y="28952"/>
                  </a:lnTo>
                  <a:lnTo>
                    <a:pt x="945292" y="20517"/>
                  </a:lnTo>
                  <a:lnTo>
                    <a:pt x="886022" y="13395"/>
                  </a:lnTo>
                  <a:lnTo>
                    <a:pt x="822934" y="7683"/>
                  </a:lnTo>
                  <a:lnTo>
                    <a:pt x="756491" y="3480"/>
                  </a:lnTo>
                  <a:lnTo>
                    <a:pt x="687154" y="886"/>
                  </a:lnTo>
                  <a:lnTo>
                    <a:pt x="615386" y="0"/>
                  </a:lnTo>
                  <a:close/>
                </a:path>
              </a:pathLst>
            </a:custGeom>
            <a:solidFill>
              <a:srgbClr val="6F6F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933734" y="2383358"/>
              <a:ext cx="1231265" cy="791210"/>
            </a:xfrm>
            <a:custGeom>
              <a:avLst/>
              <a:gdLst/>
              <a:ahLst/>
              <a:cxnLst/>
              <a:rect l="l" t="t" r="r" b="b"/>
              <a:pathLst>
                <a:path w="1231264" h="791210">
                  <a:moveTo>
                    <a:pt x="1230780" y="131780"/>
                  </a:moveTo>
                  <a:lnTo>
                    <a:pt x="1194904" y="176224"/>
                  </a:lnTo>
                  <a:lnTo>
                    <a:pt x="1134971" y="202426"/>
                  </a:lnTo>
                  <a:lnTo>
                    <a:pt x="1095586" y="214202"/>
                  </a:lnTo>
                  <a:lnTo>
                    <a:pt x="1050537" y="224963"/>
                  </a:lnTo>
                  <a:lnTo>
                    <a:pt x="1000285" y="234610"/>
                  </a:lnTo>
                  <a:lnTo>
                    <a:pt x="945294" y="243044"/>
                  </a:lnTo>
                  <a:lnTo>
                    <a:pt x="886023" y="250166"/>
                  </a:lnTo>
                  <a:lnTo>
                    <a:pt x="822936" y="255878"/>
                  </a:lnTo>
                  <a:lnTo>
                    <a:pt x="756493" y="260080"/>
                  </a:lnTo>
                  <a:lnTo>
                    <a:pt x="687157" y="262674"/>
                  </a:lnTo>
                  <a:lnTo>
                    <a:pt x="615390" y="263561"/>
                  </a:lnTo>
                  <a:lnTo>
                    <a:pt x="543622" y="262674"/>
                  </a:lnTo>
                  <a:lnTo>
                    <a:pt x="474287" y="260080"/>
                  </a:lnTo>
                  <a:lnTo>
                    <a:pt x="407844" y="255878"/>
                  </a:lnTo>
                  <a:lnTo>
                    <a:pt x="344757" y="250166"/>
                  </a:lnTo>
                  <a:lnTo>
                    <a:pt x="285487" y="243044"/>
                  </a:lnTo>
                  <a:lnTo>
                    <a:pt x="230495" y="234610"/>
                  </a:lnTo>
                  <a:lnTo>
                    <a:pt x="180243" y="224963"/>
                  </a:lnTo>
                  <a:lnTo>
                    <a:pt x="135194" y="214202"/>
                  </a:lnTo>
                  <a:lnTo>
                    <a:pt x="95809" y="202426"/>
                  </a:lnTo>
                  <a:lnTo>
                    <a:pt x="35876" y="176224"/>
                  </a:lnTo>
                  <a:lnTo>
                    <a:pt x="4140" y="147148"/>
                  </a:lnTo>
                  <a:lnTo>
                    <a:pt x="0" y="131780"/>
                  </a:lnTo>
                </a:path>
                <a:path w="1231264" h="791210">
                  <a:moveTo>
                    <a:pt x="0" y="131780"/>
                  </a:moveTo>
                  <a:lnTo>
                    <a:pt x="35876" y="87336"/>
                  </a:lnTo>
                  <a:lnTo>
                    <a:pt x="95809" y="61134"/>
                  </a:lnTo>
                  <a:lnTo>
                    <a:pt x="135194" y="49358"/>
                  </a:lnTo>
                  <a:lnTo>
                    <a:pt x="180243" y="38597"/>
                  </a:lnTo>
                  <a:lnTo>
                    <a:pt x="230495" y="28950"/>
                  </a:lnTo>
                  <a:lnTo>
                    <a:pt x="285487" y="20516"/>
                  </a:lnTo>
                  <a:lnTo>
                    <a:pt x="344757" y="13394"/>
                  </a:lnTo>
                  <a:lnTo>
                    <a:pt x="407844" y="7682"/>
                  </a:lnTo>
                  <a:lnTo>
                    <a:pt x="474287" y="3480"/>
                  </a:lnTo>
                  <a:lnTo>
                    <a:pt x="543622" y="886"/>
                  </a:lnTo>
                  <a:lnTo>
                    <a:pt x="615390" y="0"/>
                  </a:lnTo>
                  <a:lnTo>
                    <a:pt x="687157" y="886"/>
                  </a:lnTo>
                  <a:lnTo>
                    <a:pt x="756493" y="3480"/>
                  </a:lnTo>
                  <a:lnTo>
                    <a:pt x="822936" y="7682"/>
                  </a:lnTo>
                  <a:lnTo>
                    <a:pt x="886023" y="13394"/>
                  </a:lnTo>
                  <a:lnTo>
                    <a:pt x="945294" y="20516"/>
                  </a:lnTo>
                  <a:lnTo>
                    <a:pt x="1000285" y="28950"/>
                  </a:lnTo>
                  <a:lnTo>
                    <a:pt x="1050537" y="38597"/>
                  </a:lnTo>
                  <a:lnTo>
                    <a:pt x="1095586" y="49358"/>
                  </a:lnTo>
                  <a:lnTo>
                    <a:pt x="1134971" y="61134"/>
                  </a:lnTo>
                  <a:lnTo>
                    <a:pt x="1194904" y="87336"/>
                  </a:lnTo>
                  <a:lnTo>
                    <a:pt x="1226640" y="116411"/>
                  </a:lnTo>
                  <a:lnTo>
                    <a:pt x="1230780" y="131780"/>
                  </a:lnTo>
                  <a:lnTo>
                    <a:pt x="1230780" y="658902"/>
                  </a:lnTo>
                  <a:lnTo>
                    <a:pt x="1194904" y="703346"/>
                  </a:lnTo>
                  <a:lnTo>
                    <a:pt x="1134971" y="729548"/>
                  </a:lnTo>
                  <a:lnTo>
                    <a:pt x="1095586" y="741324"/>
                  </a:lnTo>
                  <a:lnTo>
                    <a:pt x="1050537" y="752084"/>
                  </a:lnTo>
                  <a:lnTo>
                    <a:pt x="1000285" y="761731"/>
                  </a:lnTo>
                  <a:lnTo>
                    <a:pt x="945294" y="770165"/>
                  </a:lnTo>
                  <a:lnTo>
                    <a:pt x="886023" y="777288"/>
                  </a:lnTo>
                  <a:lnTo>
                    <a:pt x="822936" y="782999"/>
                  </a:lnTo>
                  <a:lnTo>
                    <a:pt x="756493" y="787202"/>
                  </a:lnTo>
                  <a:lnTo>
                    <a:pt x="687157" y="789795"/>
                  </a:lnTo>
                  <a:lnTo>
                    <a:pt x="615390" y="790682"/>
                  </a:lnTo>
                  <a:lnTo>
                    <a:pt x="543622" y="789795"/>
                  </a:lnTo>
                  <a:lnTo>
                    <a:pt x="474287" y="787202"/>
                  </a:lnTo>
                  <a:lnTo>
                    <a:pt x="407844" y="782999"/>
                  </a:lnTo>
                  <a:lnTo>
                    <a:pt x="344757" y="777288"/>
                  </a:lnTo>
                  <a:lnTo>
                    <a:pt x="285487" y="770165"/>
                  </a:lnTo>
                  <a:lnTo>
                    <a:pt x="230495" y="761731"/>
                  </a:lnTo>
                  <a:lnTo>
                    <a:pt x="180243" y="752084"/>
                  </a:lnTo>
                  <a:lnTo>
                    <a:pt x="135194" y="741324"/>
                  </a:lnTo>
                  <a:lnTo>
                    <a:pt x="95809" y="729548"/>
                  </a:lnTo>
                  <a:lnTo>
                    <a:pt x="35876" y="703346"/>
                  </a:lnTo>
                  <a:lnTo>
                    <a:pt x="4140" y="674270"/>
                  </a:lnTo>
                  <a:lnTo>
                    <a:pt x="0" y="658902"/>
                  </a:lnTo>
                  <a:lnTo>
                    <a:pt x="0" y="131780"/>
                  </a:lnTo>
                  <a:close/>
                </a:path>
              </a:pathLst>
            </a:custGeom>
            <a:ln w="25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1223686" y="2755899"/>
            <a:ext cx="650875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00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000" spc="-10">
                <a:solidFill>
                  <a:srgbClr val="FFFFFF"/>
                </a:solidFill>
                <a:latin typeface="Arial"/>
                <a:cs typeface="Arial"/>
              </a:rPr>
              <a:t>ed</a:t>
            </a:r>
            <a:r>
              <a:rPr sz="1000">
                <a:solidFill>
                  <a:srgbClr val="FFFFFF"/>
                </a:solidFill>
                <a:latin typeface="Arial"/>
                <a:cs typeface="Arial"/>
              </a:rPr>
              <a:t>ic</a:t>
            </a:r>
            <a:r>
              <a:rPr sz="1000" spc="-5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00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000" spc="-10">
                <a:solidFill>
                  <a:srgbClr val="FFFFFF"/>
                </a:solidFill>
                <a:latin typeface="Arial"/>
                <a:cs typeface="Arial"/>
              </a:rPr>
              <a:t>on</a:t>
            </a:r>
            <a:r>
              <a:rPr sz="1000">
                <a:solidFill>
                  <a:srgbClr val="FFFFFF"/>
                </a:solidFill>
                <a:latin typeface="Arial"/>
                <a:cs typeface="Arial"/>
              </a:rPr>
              <a:t>s</a:t>
            </a:r>
            <a:endParaRPr sz="1000">
              <a:latin typeface="Arial"/>
              <a:cs typeface="Arial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2164511" y="2381795"/>
            <a:ext cx="6756400" cy="641350"/>
          </a:xfrm>
          <a:custGeom>
            <a:avLst/>
            <a:gdLst/>
            <a:ahLst/>
            <a:cxnLst/>
            <a:rect l="l" t="t" r="r" b="b"/>
            <a:pathLst>
              <a:path w="6756400" h="641350">
                <a:moveTo>
                  <a:pt x="3208972" y="0"/>
                </a:moveTo>
                <a:lnTo>
                  <a:pt x="1601863" y="0"/>
                </a:lnTo>
                <a:lnTo>
                  <a:pt x="1599730" y="2133"/>
                </a:lnTo>
                <a:lnTo>
                  <a:pt x="1599730" y="392150"/>
                </a:lnTo>
                <a:lnTo>
                  <a:pt x="76200" y="392150"/>
                </a:lnTo>
                <a:lnTo>
                  <a:pt x="76200" y="358813"/>
                </a:lnTo>
                <a:lnTo>
                  <a:pt x="0" y="396913"/>
                </a:lnTo>
                <a:lnTo>
                  <a:pt x="76200" y="435013"/>
                </a:lnTo>
                <a:lnTo>
                  <a:pt x="76200" y="401675"/>
                </a:lnTo>
                <a:lnTo>
                  <a:pt x="1607121" y="401675"/>
                </a:lnTo>
                <a:lnTo>
                  <a:pt x="1609255" y="399542"/>
                </a:lnTo>
                <a:lnTo>
                  <a:pt x="1609255" y="396913"/>
                </a:lnTo>
                <a:lnTo>
                  <a:pt x="1609255" y="392150"/>
                </a:lnTo>
                <a:lnTo>
                  <a:pt x="1609255" y="9525"/>
                </a:lnTo>
                <a:lnTo>
                  <a:pt x="3208972" y="9525"/>
                </a:lnTo>
                <a:lnTo>
                  <a:pt x="3208972" y="4762"/>
                </a:lnTo>
                <a:lnTo>
                  <a:pt x="3208972" y="0"/>
                </a:lnTo>
                <a:close/>
              </a:path>
              <a:path w="6756400" h="641350">
                <a:moveTo>
                  <a:pt x="6755905" y="71691"/>
                </a:moveTo>
                <a:lnTo>
                  <a:pt x="6753771" y="69557"/>
                </a:lnTo>
                <a:lnTo>
                  <a:pt x="5839345" y="69557"/>
                </a:lnTo>
                <a:lnTo>
                  <a:pt x="5839345" y="36220"/>
                </a:lnTo>
                <a:lnTo>
                  <a:pt x="5763145" y="74320"/>
                </a:lnTo>
                <a:lnTo>
                  <a:pt x="5839345" y="112420"/>
                </a:lnTo>
                <a:lnTo>
                  <a:pt x="5839345" y="79082"/>
                </a:lnTo>
                <a:lnTo>
                  <a:pt x="6746380" y="79082"/>
                </a:lnTo>
                <a:lnTo>
                  <a:pt x="6746380" y="641057"/>
                </a:lnTo>
                <a:lnTo>
                  <a:pt x="6755905" y="641057"/>
                </a:lnTo>
                <a:lnTo>
                  <a:pt x="6755905" y="79082"/>
                </a:lnTo>
                <a:lnTo>
                  <a:pt x="6755905" y="74320"/>
                </a:lnTo>
                <a:lnTo>
                  <a:pt x="6755905" y="716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5412485" y="3832859"/>
            <a:ext cx="998855" cy="443230"/>
          </a:xfrm>
          <a:prstGeom prst="rect">
            <a:avLst/>
          </a:prstGeom>
          <a:solidFill>
            <a:srgbClr val="EBEBEB"/>
          </a:solidFill>
          <a:ln w="25400">
            <a:solidFill>
              <a:srgbClr val="7F7F7F"/>
            </a:solidFill>
          </a:ln>
        </p:spPr>
        <p:txBody>
          <a:bodyPr vert="horz" wrap="square" lIns="0" tIns="69215" rIns="0" bIns="0" rtlCol="0">
            <a:spAutoFit/>
          </a:bodyPr>
          <a:lstStyle/>
          <a:p>
            <a:pPr marL="169545" marR="161925" indent="68580">
              <a:lnSpc>
                <a:spcPct val="100000"/>
              </a:lnSpc>
              <a:spcBef>
                <a:spcPts val="545"/>
              </a:spcBef>
            </a:pPr>
            <a:r>
              <a:rPr sz="1000" spc="-5">
                <a:latin typeface="Arial"/>
                <a:cs typeface="Arial"/>
              </a:rPr>
              <a:t>Mini-data  </a:t>
            </a:r>
            <a:r>
              <a:rPr sz="1000" spc="-10">
                <a:latin typeface="Arial"/>
                <a:cs typeface="Arial"/>
              </a:rPr>
              <a:t>eng</a:t>
            </a:r>
            <a:r>
              <a:rPr sz="1000">
                <a:latin typeface="Arial"/>
                <a:cs typeface="Arial"/>
              </a:rPr>
              <a:t>i</a:t>
            </a:r>
            <a:r>
              <a:rPr sz="1000" spc="-10">
                <a:latin typeface="Arial"/>
                <a:cs typeface="Arial"/>
              </a:rPr>
              <a:t>nee</a:t>
            </a:r>
            <a:r>
              <a:rPr sz="1000">
                <a:latin typeface="Arial"/>
                <a:cs typeface="Arial"/>
              </a:rPr>
              <a:t>ri</a:t>
            </a:r>
            <a:r>
              <a:rPr sz="1000" spc="-10">
                <a:latin typeface="Arial"/>
                <a:cs typeface="Arial"/>
              </a:rPr>
              <a:t>ng</a:t>
            </a:r>
            <a:endParaRPr sz="1000">
              <a:latin typeface="Arial"/>
              <a:cs typeface="Arial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511020" y="2245893"/>
            <a:ext cx="5990590" cy="1846580"/>
          </a:xfrm>
          <a:custGeom>
            <a:avLst/>
            <a:gdLst/>
            <a:ahLst/>
            <a:cxnLst/>
            <a:rect l="l" t="t" r="r" b="b"/>
            <a:pathLst>
              <a:path w="5990590" h="1846579">
                <a:moveTo>
                  <a:pt x="1323441" y="38100"/>
                </a:moveTo>
                <a:lnTo>
                  <a:pt x="1313916" y="33337"/>
                </a:lnTo>
                <a:lnTo>
                  <a:pt x="1247241" y="0"/>
                </a:lnTo>
                <a:lnTo>
                  <a:pt x="1247241" y="33337"/>
                </a:lnTo>
                <a:lnTo>
                  <a:pt x="35471" y="33337"/>
                </a:lnTo>
                <a:lnTo>
                  <a:pt x="33337" y="35471"/>
                </a:lnTo>
                <a:lnTo>
                  <a:pt x="33337" y="61264"/>
                </a:lnTo>
                <a:lnTo>
                  <a:pt x="0" y="61264"/>
                </a:lnTo>
                <a:lnTo>
                  <a:pt x="38100" y="137464"/>
                </a:lnTo>
                <a:lnTo>
                  <a:pt x="69850" y="73964"/>
                </a:lnTo>
                <a:lnTo>
                  <a:pt x="76200" y="61264"/>
                </a:lnTo>
                <a:lnTo>
                  <a:pt x="42862" y="61264"/>
                </a:lnTo>
                <a:lnTo>
                  <a:pt x="42862" y="42862"/>
                </a:lnTo>
                <a:lnTo>
                  <a:pt x="1247241" y="42862"/>
                </a:lnTo>
                <a:lnTo>
                  <a:pt x="1247241" y="76200"/>
                </a:lnTo>
                <a:lnTo>
                  <a:pt x="1313916" y="42862"/>
                </a:lnTo>
                <a:lnTo>
                  <a:pt x="1323441" y="38100"/>
                </a:lnTo>
                <a:close/>
              </a:path>
              <a:path w="5990590" h="1846579">
                <a:moveTo>
                  <a:pt x="1349032" y="1019390"/>
                </a:moveTo>
                <a:lnTo>
                  <a:pt x="1339507" y="1014628"/>
                </a:lnTo>
                <a:lnTo>
                  <a:pt x="1272832" y="981290"/>
                </a:lnTo>
                <a:lnTo>
                  <a:pt x="1272832" y="1014628"/>
                </a:lnTo>
                <a:lnTo>
                  <a:pt x="35471" y="1014628"/>
                </a:lnTo>
                <a:lnTo>
                  <a:pt x="33337" y="1016762"/>
                </a:lnTo>
                <a:lnTo>
                  <a:pt x="33337" y="1335481"/>
                </a:lnTo>
                <a:lnTo>
                  <a:pt x="0" y="1335481"/>
                </a:lnTo>
                <a:lnTo>
                  <a:pt x="38100" y="1411681"/>
                </a:lnTo>
                <a:lnTo>
                  <a:pt x="69850" y="1348181"/>
                </a:lnTo>
                <a:lnTo>
                  <a:pt x="76200" y="1335481"/>
                </a:lnTo>
                <a:lnTo>
                  <a:pt x="42862" y="1335481"/>
                </a:lnTo>
                <a:lnTo>
                  <a:pt x="42862" y="1024153"/>
                </a:lnTo>
                <a:lnTo>
                  <a:pt x="1272832" y="1024153"/>
                </a:lnTo>
                <a:lnTo>
                  <a:pt x="1272832" y="1057490"/>
                </a:lnTo>
                <a:lnTo>
                  <a:pt x="1339507" y="1024153"/>
                </a:lnTo>
                <a:lnTo>
                  <a:pt x="1349032" y="1019390"/>
                </a:lnTo>
                <a:close/>
              </a:path>
              <a:path w="5990590" h="1846579">
                <a:moveTo>
                  <a:pt x="2278900" y="1014628"/>
                </a:moveTo>
                <a:lnTo>
                  <a:pt x="2240800" y="1014628"/>
                </a:lnTo>
                <a:lnTo>
                  <a:pt x="2240800" y="1024153"/>
                </a:lnTo>
                <a:lnTo>
                  <a:pt x="2278900" y="1024153"/>
                </a:lnTo>
                <a:lnTo>
                  <a:pt x="2278900" y="1014628"/>
                </a:lnTo>
                <a:close/>
              </a:path>
              <a:path w="5990590" h="1846579">
                <a:moveTo>
                  <a:pt x="2345575" y="1014628"/>
                </a:moveTo>
                <a:lnTo>
                  <a:pt x="2307475" y="1014628"/>
                </a:lnTo>
                <a:lnTo>
                  <a:pt x="2307475" y="1024153"/>
                </a:lnTo>
                <a:lnTo>
                  <a:pt x="2345575" y="1024153"/>
                </a:lnTo>
                <a:lnTo>
                  <a:pt x="2345575" y="1014628"/>
                </a:lnTo>
                <a:close/>
              </a:path>
              <a:path w="5990590" h="1846579">
                <a:moveTo>
                  <a:pt x="2412250" y="1014628"/>
                </a:moveTo>
                <a:lnTo>
                  <a:pt x="2374150" y="1014628"/>
                </a:lnTo>
                <a:lnTo>
                  <a:pt x="2374150" y="1024153"/>
                </a:lnTo>
                <a:lnTo>
                  <a:pt x="2412250" y="1024153"/>
                </a:lnTo>
                <a:lnTo>
                  <a:pt x="2412250" y="1014628"/>
                </a:lnTo>
                <a:close/>
              </a:path>
              <a:path w="5990590" h="1846579">
                <a:moveTo>
                  <a:pt x="2478925" y="1014628"/>
                </a:moveTo>
                <a:lnTo>
                  <a:pt x="2440825" y="1014628"/>
                </a:lnTo>
                <a:lnTo>
                  <a:pt x="2440825" y="1024153"/>
                </a:lnTo>
                <a:lnTo>
                  <a:pt x="2478925" y="1024153"/>
                </a:lnTo>
                <a:lnTo>
                  <a:pt x="2478925" y="1014628"/>
                </a:lnTo>
                <a:close/>
              </a:path>
              <a:path w="5990590" h="1846579">
                <a:moveTo>
                  <a:pt x="2545600" y="1014628"/>
                </a:moveTo>
                <a:lnTo>
                  <a:pt x="2507500" y="1014628"/>
                </a:lnTo>
                <a:lnTo>
                  <a:pt x="2507500" y="1024153"/>
                </a:lnTo>
                <a:lnTo>
                  <a:pt x="2545600" y="1024153"/>
                </a:lnTo>
                <a:lnTo>
                  <a:pt x="2545600" y="1014628"/>
                </a:lnTo>
                <a:close/>
              </a:path>
              <a:path w="5990590" h="1846579">
                <a:moveTo>
                  <a:pt x="2612275" y="1014628"/>
                </a:moveTo>
                <a:lnTo>
                  <a:pt x="2574175" y="1014628"/>
                </a:lnTo>
                <a:lnTo>
                  <a:pt x="2574175" y="1024153"/>
                </a:lnTo>
                <a:lnTo>
                  <a:pt x="2612275" y="1024153"/>
                </a:lnTo>
                <a:lnTo>
                  <a:pt x="2612275" y="1014628"/>
                </a:lnTo>
                <a:close/>
              </a:path>
              <a:path w="5990590" h="1846579">
                <a:moveTo>
                  <a:pt x="2678950" y="1014628"/>
                </a:moveTo>
                <a:lnTo>
                  <a:pt x="2640850" y="1014628"/>
                </a:lnTo>
                <a:lnTo>
                  <a:pt x="2640850" y="1024153"/>
                </a:lnTo>
                <a:lnTo>
                  <a:pt x="2678950" y="1024153"/>
                </a:lnTo>
                <a:lnTo>
                  <a:pt x="2678950" y="1014628"/>
                </a:lnTo>
                <a:close/>
              </a:path>
              <a:path w="5990590" h="1846579">
                <a:moveTo>
                  <a:pt x="2745625" y="1014628"/>
                </a:moveTo>
                <a:lnTo>
                  <a:pt x="2707525" y="1014628"/>
                </a:lnTo>
                <a:lnTo>
                  <a:pt x="2707525" y="1024153"/>
                </a:lnTo>
                <a:lnTo>
                  <a:pt x="2745625" y="1024153"/>
                </a:lnTo>
                <a:lnTo>
                  <a:pt x="2745625" y="1014628"/>
                </a:lnTo>
                <a:close/>
              </a:path>
              <a:path w="5990590" h="1846579">
                <a:moveTo>
                  <a:pt x="2812300" y="1014628"/>
                </a:moveTo>
                <a:lnTo>
                  <a:pt x="2774200" y="1014628"/>
                </a:lnTo>
                <a:lnTo>
                  <a:pt x="2774200" y="1024153"/>
                </a:lnTo>
                <a:lnTo>
                  <a:pt x="2812300" y="1024153"/>
                </a:lnTo>
                <a:lnTo>
                  <a:pt x="2812300" y="1014628"/>
                </a:lnTo>
                <a:close/>
              </a:path>
              <a:path w="5990590" h="1846579">
                <a:moveTo>
                  <a:pt x="2878975" y="1014628"/>
                </a:moveTo>
                <a:lnTo>
                  <a:pt x="2840875" y="1014628"/>
                </a:lnTo>
                <a:lnTo>
                  <a:pt x="2840875" y="1024153"/>
                </a:lnTo>
                <a:lnTo>
                  <a:pt x="2878975" y="1024153"/>
                </a:lnTo>
                <a:lnTo>
                  <a:pt x="2878975" y="1014628"/>
                </a:lnTo>
                <a:close/>
              </a:path>
              <a:path w="5990590" h="1846579">
                <a:moveTo>
                  <a:pt x="2945650" y="1014628"/>
                </a:moveTo>
                <a:lnTo>
                  <a:pt x="2907550" y="1014628"/>
                </a:lnTo>
                <a:lnTo>
                  <a:pt x="2907550" y="1024153"/>
                </a:lnTo>
                <a:lnTo>
                  <a:pt x="2945650" y="1024153"/>
                </a:lnTo>
                <a:lnTo>
                  <a:pt x="2945650" y="1014628"/>
                </a:lnTo>
                <a:close/>
              </a:path>
              <a:path w="5990590" h="1846579">
                <a:moveTo>
                  <a:pt x="3012325" y="1014628"/>
                </a:moveTo>
                <a:lnTo>
                  <a:pt x="2974225" y="1014628"/>
                </a:lnTo>
                <a:lnTo>
                  <a:pt x="2974225" y="1024153"/>
                </a:lnTo>
                <a:lnTo>
                  <a:pt x="3012325" y="1024153"/>
                </a:lnTo>
                <a:lnTo>
                  <a:pt x="3012325" y="1014628"/>
                </a:lnTo>
                <a:close/>
              </a:path>
              <a:path w="5990590" h="1846579">
                <a:moveTo>
                  <a:pt x="3056394" y="992022"/>
                </a:moveTo>
                <a:lnTo>
                  <a:pt x="3046869" y="992022"/>
                </a:lnTo>
                <a:lnTo>
                  <a:pt x="3046869" y="1014628"/>
                </a:lnTo>
                <a:lnTo>
                  <a:pt x="3040900" y="1014628"/>
                </a:lnTo>
                <a:lnTo>
                  <a:pt x="3040900" y="1024153"/>
                </a:lnTo>
                <a:lnTo>
                  <a:pt x="3054261" y="1024153"/>
                </a:lnTo>
                <a:lnTo>
                  <a:pt x="3056394" y="1022019"/>
                </a:lnTo>
                <a:lnTo>
                  <a:pt x="3056394" y="1019390"/>
                </a:lnTo>
                <a:lnTo>
                  <a:pt x="3056394" y="1014628"/>
                </a:lnTo>
                <a:lnTo>
                  <a:pt x="3056394" y="992022"/>
                </a:lnTo>
                <a:close/>
              </a:path>
              <a:path w="5990590" h="1846579">
                <a:moveTo>
                  <a:pt x="3056394" y="925347"/>
                </a:moveTo>
                <a:lnTo>
                  <a:pt x="3046869" y="925347"/>
                </a:lnTo>
                <a:lnTo>
                  <a:pt x="3046869" y="963447"/>
                </a:lnTo>
                <a:lnTo>
                  <a:pt x="3056394" y="963447"/>
                </a:lnTo>
                <a:lnTo>
                  <a:pt x="3056394" y="925347"/>
                </a:lnTo>
                <a:close/>
              </a:path>
              <a:path w="5990590" h="1846579">
                <a:moveTo>
                  <a:pt x="3056394" y="858672"/>
                </a:moveTo>
                <a:lnTo>
                  <a:pt x="3046869" y="858672"/>
                </a:lnTo>
                <a:lnTo>
                  <a:pt x="3046869" y="896772"/>
                </a:lnTo>
                <a:lnTo>
                  <a:pt x="3056394" y="896772"/>
                </a:lnTo>
                <a:lnTo>
                  <a:pt x="3056394" y="858672"/>
                </a:lnTo>
                <a:close/>
              </a:path>
              <a:path w="5990590" h="1846579">
                <a:moveTo>
                  <a:pt x="3056394" y="791997"/>
                </a:moveTo>
                <a:lnTo>
                  <a:pt x="3046869" y="791997"/>
                </a:lnTo>
                <a:lnTo>
                  <a:pt x="3046869" y="830097"/>
                </a:lnTo>
                <a:lnTo>
                  <a:pt x="3056394" y="830097"/>
                </a:lnTo>
                <a:lnTo>
                  <a:pt x="3056394" y="791997"/>
                </a:lnTo>
                <a:close/>
              </a:path>
              <a:path w="5990590" h="1846579">
                <a:moveTo>
                  <a:pt x="3056394" y="725322"/>
                </a:moveTo>
                <a:lnTo>
                  <a:pt x="3046869" y="725322"/>
                </a:lnTo>
                <a:lnTo>
                  <a:pt x="3046869" y="763422"/>
                </a:lnTo>
                <a:lnTo>
                  <a:pt x="3056394" y="763422"/>
                </a:lnTo>
                <a:lnTo>
                  <a:pt x="3056394" y="725322"/>
                </a:lnTo>
                <a:close/>
              </a:path>
              <a:path w="5990590" h="1846579">
                <a:moveTo>
                  <a:pt x="3056394" y="658647"/>
                </a:moveTo>
                <a:lnTo>
                  <a:pt x="3046869" y="658647"/>
                </a:lnTo>
                <a:lnTo>
                  <a:pt x="3046869" y="696747"/>
                </a:lnTo>
                <a:lnTo>
                  <a:pt x="3056394" y="696747"/>
                </a:lnTo>
                <a:lnTo>
                  <a:pt x="3056394" y="658647"/>
                </a:lnTo>
                <a:close/>
              </a:path>
              <a:path w="5990590" h="1846579">
                <a:moveTo>
                  <a:pt x="3056394" y="591972"/>
                </a:moveTo>
                <a:lnTo>
                  <a:pt x="3046869" y="591972"/>
                </a:lnTo>
                <a:lnTo>
                  <a:pt x="3046869" y="630072"/>
                </a:lnTo>
                <a:lnTo>
                  <a:pt x="3056394" y="630072"/>
                </a:lnTo>
                <a:lnTo>
                  <a:pt x="3056394" y="591972"/>
                </a:lnTo>
                <a:close/>
              </a:path>
              <a:path w="5990590" h="1846579">
                <a:moveTo>
                  <a:pt x="3056394" y="525297"/>
                </a:moveTo>
                <a:lnTo>
                  <a:pt x="3046869" y="525297"/>
                </a:lnTo>
                <a:lnTo>
                  <a:pt x="3046869" y="563397"/>
                </a:lnTo>
                <a:lnTo>
                  <a:pt x="3056394" y="563397"/>
                </a:lnTo>
                <a:lnTo>
                  <a:pt x="3056394" y="525297"/>
                </a:lnTo>
                <a:close/>
              </a:path>
              <a:path w="5990590" h="1846579">
                <a:moveTo>
                  <a:pt x="3056394" y="458622"/>
                </a:moveTo>
                <a:lnTo>
                  <a:pt x="3046869" y="458622"/>
                </a:lnTo>
                <a:lnTo>
                  <a:pt x="3046869" y="496722"/>
                </a:lnTo>
                <a:lnTo>
                  <a:pt x="3056394" y="496722"/>
                </a:lnTo>
                <a:lnTo>
                  <a:pt x="3056394" y="458622"/>
                </a:lnTo>
                <a:close/>
              </a:path>
              <a:path w="5990590" h="1846579">
                <a:moveTo>
                  <a:pt x="3056394" y="391947"/>
                </a:moveTo>
                <a:lnTo>
                  <a:pt x="3046869" y="391947"/>
                </a:lnTo>
                <a:lnTo>
                  <a:pt x="3046869" y="430047"/>
                </a:lnTo>
                <a:lnTo>
                  <a:pt x="3056394" y="430047"/>
                </a:lnTo>
                <a:lnTo>
                  <a:pt x="3056394" y="391947"/>
                </a:lnTo>
                <a:close/>
              </a:path>
              <a:path w="5990590" h="1846579">
                <a:moveTo>
                  <a:pt x="3056394" y="325272"/>
                </a:moveTo>
                <a:lnTo>
                  <a:pt x="3046869" y="325272"/>
                </a:lnTo>
                <a:lnTo>
                  <a:pt x="3046869" y="363372"/>
                </a:lnTo>
                <a:lnTo>
                  <a:pt x="3056394" y="363372"/>
                </a:lnTo>
                <a:lnTo>
                  <a:pt x="3056394" y="325272"/>
                </a:lnTo>
                <a:close/>
              </a:path>
              <a:path w="5990590" h="1846579">
                <a:moveTo>
                  <a:pt x="3073425" y="275628"/>
                </a:moveTo>
                <a:lnTo>
                  <a:pt x="3049003" y="275628"/>
                </a:lnTo>
                <a:lnTo>
                  <a:pt x="3046869" y="277749"/>
                </a:lnTo>
                <a:lnTo>
                  <a:pt x="3046869" y="296697"/>
                </a:lnTo>
                <a:lnTo>
                  <a:pt x="3056394" y="296697"/>
                </a:lnTo>
                <a:lnTo>
                  <a:pt x="3056394" y="285153"/>
                </a:lnTo>
                <a:lnTo>
                  <a:pt x="3073425" y="285153"/>
                </a:lnTo>
                <a:lnTo>
                  <a:pt x="3073425" y="280390"/>
                </a:lnTo>
                <a:lnTo>
                  <a:pt x="3073425" y="275628"/>
                </a:lnTo>
                <a:close/>
              </a:path>
              <a:path w="5990590" h="1846579">
                <a:moveTo>
                  <a:pt x="3140100" y="275628"/>
                </a:moveTo>
                <a:lnTo>
                  <a:pt x="3102000" y="275628"/>
                </a:lnTo>
                <a:lnTo>
                  <a:pt x="3102000" y="285153"/>
                </a:lnTo>
                <a:lnTo>
                  <a:pt x="3140100" y="285153"/>
                </a:lnTo>
                <a:lnTo>
                  <a:pt x="3140100" y="275628"/>
                </a:lnTo>
                <a:close/>
              </a:path>
              <a:path w="5990590" h="1846579">
                <a:moveTo>
                  <a:pt x="3206775" y="275628"/>
                </a:moveTo>
                <a:lnTo>
                  <a:pt x="3168675" y="275628"/>
                </a:lnTo>
                <a:lnTo>
                  <a:pt x="3168675" y="285153"/>
                </a:lnTo>
                <a:lnTo>
                  <a:pt x="3206775" y="285153"/>
                </a:lnTo>
                <a:lnTo>
                  <a:pt x="3206775" y="275628"/>
                </a:lnTo>
                <a:close/>
              </a:path>
              <a:path w="5990590" h="1846579">
                <a:moveTo>
                  <a:pt x="3273450" y="275628"/>
                </a:moveTo>
                <a:lnTo>
                  <a:pt x="3235350" y="275628"/>
                </a:lnTo>
                <a:lnTo>
                  <a:pt x="3235350" y="285153"/>
                </a:lnTo>
                <a:lnTo>
                  <a:pt x="3273450" y="285153"/>
                </a:lnTo>
                <a:lnTo>
                  <a:pt x="3273450" y="275628"/>
                </a:lnTo>
                <a:close/>
              </a:path>
              <a:path w="5990590" h="1846579">
                <a:moveTo>
                  <a:pt x="3340125" y="275628"/>
                </a:moveTo>
                <a:lnTo>
                  <a:pt x="3302025" y="275628"/>
                </a:lnTo>
                <a:lnTo>
                  <a:pt x="3302025" y="285153"/>
                </a:lnTo>
                <a:lnTo>
                  <a:pt x="3340125" y="285153"/>
                </a:lnTo>
                <a:lnTo>
                  <a:pt x="3340125" y="275628"/>
                </a:lnTo>
                <a:close/>
              </a:path>
              <a:path w="5990590" h="1846579">
                <a:moveTo>
                  <a:pt x="3406800" y="275628"/>
                </a:moveTo>
                <a:lnTo>
                  <a:pt x="3368700" y="275628"/>
                </a:lnTo>
                <a:lnTo>
                  <a:pt x="3368700" y="285153"/>
                </a:lnTo>
                <a:lnTo>
                  <a:pt x="3406800" y="285153"/>
                </a:lnTo>
                <a:lnTo>
                  <a:pt x="3406800" y="275628"/>
                </a:lnTo>
                <a:close/>
              </a:path>
              <a:path w="5990590" h="1846579">
                <a:moveTo>
                  <a:pt x="3473475" y="275628"/>
                </a:moveTo>
                <a:lnTo>
                  <a:pt x="3435375" y="275628"/>
                </a:lnTo>
                <a:lnTo>
                  <a:pt x="3435375" y="285153"/>
                </a:lnTo>
                <a:lnTo>
                  <a:pt x="3473475" y="285153"/>
                </a:lnTo>
                <a:lnTo>
                  <a:pt x="3473475" y="275628"/>
                </a:lnTo>
                <a:close/>
              </a:path>
              <a:path w="5990590" h="1846579">
                <a:moveTo>
                  <a:pt x="3540150" y="275628"/>
                </a:moveTo>
                <a:lnTo>
                  <a:pt x="3502050" y="275628"/>
                </a:lnTo>
                <a:lnTo>
                  <a:pt x="3502050" y="285153"/>
                </a:lnTo>
                <a:lnTo>
                  <a:pt x="3540150" y="285153"/>
                </a:lnTo>
                <a:lnTo>
                  <a:pt x="3540150" y="275628"/>
                </a:lnTo>
                <a:close/>
              </a:path>
              <a:path w="5990590" h="1846579">
                <a:moveTo>
                  <a:pt x="3606825" y="275628"/>
                </a:moveTo>
                <a:lnTo>
                  <a:pt x="3568725" y="275628"/>
                </a:lnTo>
                <a:lnTo>
                  <a:pt x="3568725" y="285153"/>
                </a:lnTo>
                <a:lnTo>
                  <a:pt x="3606825" y="285153"/>
                </a:lnTo>
                <a:lnTo>
                  <a:pt x="3606825" y="275628"/>
                </a:lnTo>
                <a:close/>
              </a:path>
              <a:path w="5990590" h="1846579">
                <a:moveTo>
                  <a:pt x="3673500" y="275628"/>
                </a:moveTo>
                <a:lnTo>
                  <a:pt x="3635400" y="275628"/>
                </a:lnTo>
                <a:lnTo>
                  <a:pt x="3635400" y="285153"/>
                </a:lnTo>
                <a:lnTo>
                  <a:pt x="3673500" y="285153"/>
                </a:lnTo>
                <a:lnTo>
                  <a:pt x="3673500" y="275628"/>
                </a:lnTo>
                <a:close/>
              </a:path>
              <a:path w="5990590" h="1846579">
                <a:moveTo>
                  <a:pt x="3740175" y="275628"/>
                </a:moveTo>
                <a:lnTo>
                  <a:pt x="3702075" y="275628"/>
                </a:lnTo>
                <a:lnTo>
                  <a:pt x="3702075" y="285153"/>
                </a:lnTo>
                <a:lnTo>
                  <a:pt x="3740175" y="285153"/>
                </a:lnTo>
                <a:lnTo>
                  <a:pt x="3740175" y="275628"/>
                </a:lnTo>
                <a:close/>
              </a:path>
              <a:path w="5990590" h="1846579">
                <a:moveTo>
                  <a:pt x="3862463" y="280390"/>
                </a:moveTo>
                <a:lnTo>
                  <a:pt x="3852938" y="275628"/>
                </a:lnTo>
                <a:lnTo>
                  <a:pt x="3786263" y="242290"/>
                </a:lnTo>
                <a:lnTo>
                  <a:pt x="3786263" y="275628"/>
                </a:lnTo>
                <a:lnTo>
                  <a:pt x="3768750" y="275628"/>
                </a:lnTo>
                <a:lnTo>
                  <a:pt x="3768750" y="285153"/>
                </a:lnTo>
                <a:lnTo>
                  <a:pt x="3786263" y="285153"/>
                </a:lnTo>
                <a:lnTo>
                  <a:pt x="3786263" y="318490"/>
                </a:lnTo>
                <a:lnTo>
                  <a:pt x="3852938" y="285153"/>
                </a:lnTo>
                <a:lnTo>
                  <a:pt x="3862463" y="280390"/>
                </a:lnTo>
                <a:close/>
              </a:path>
              <a:path w="5990590" h="1846579">
                <a:moveTo>
                  <a:pt x="3901465" y="1808441"/>
                </a:moveTo>
                <a:lnTo>
                  <a:pt x="3891940" y="1803679"/>
                </a:lnTo>
                <a:lnTo>
                  <a:pt x="3825278" y="1770341"/>
                </a:lnTo>
                <a:lnTo>
                  <a:pt x="3825278" y="1803679"/>
                </a:lnTo>
                <a:lnTo>
                  <a:pt x="2281529" y="1803679"/>
                </a:lnTo>
                <a:lnTo>
                  <a:pt x="2280120" y="1802257"/>
                </a:lnTo>
                <a:lnTo>
                  <a:pt x="653491" y="1802257"/>
                </a:lnTo>
                <a:lnTo>
                  <a:pt x="653491" y="1811782"/>
                </a:lnTo>
                <a:lnTo>
                  <a:pt x="2273427" y="1811782"/>
                </a:lnTo>
                <a:lnTo>
                  <a:pt x="2274849" y="1813204"/>
                </a:lnTo>
                <a:lnTo>
                  <a:pt x="3825278" y="1813204"/>
                </a:lnTo>
                <a:lnTo>
                  <a:pt x="3825278" y="1846541"/>
                </a:lnTo>
                <a:lnTo>
                  <a:pt x="3891940" y="1813204"/>
                </a:lnTo>
                <a:lnTo>
                  <a:pt x="3901465" y="1808441"/>
                </a:lnTo>
                <a:close/>
              </a:path>
              <a:path w="5990590" h="1846579">
                <a:moveTo>
                  <a:pt x="5989967" y="519722"/>
                </a:moveTo>
                <a:lnTo>
                  <a:pt x="5983617" y="507022"/>
                </a:lnTo>
                <a:lnTo>
                  <a:pt x="5951867" y="443522"/>
                </a:lnTo>
                <a:lnTo>
                  <a:pt x="5913767" y="519722"/>
                </a:lnTo>
                <a:lnTo>
                  <a:pt x="5947105" y="519722"/>
                </a:lnTo>
                <a:lnTo>
                  <a:pt x="5947105" y="1803679"/>
                </a:lnTo>
                <a:lnTo>
                  <a:pt x="4899952" y="1803679"/>
                </a:lnTo>
                <a:lnTo>
                  <a:pt x="4899952" y="1813204"/>
                </a:lnTo>
                <a:lnTo>
                  <a:pt x="5954496" y="1813204"/>
                </a:lnTo>
                <a:lnTo>
                  <a:pt x="5956630" y="1811070"/>
                </a:lnTo>
                <a:lnTo>
                  <a:pt x="5956630" y="1808441"/>
                </a:lnTo>
                <a:lnTo>
                  <a:pt x="5956630" y="1803679"/>
                </a:lnTo>
                <a:lnTo>
                  <a:pt x="5956630" y="519722"/>
                </a:lnTo>
                <a:lnTo>
                  <a:pt x="5989967" y="5197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/>
          <p:nvPr/>
        </p:nvSpPr>
        <p:spPr>
          <a:xfrm>
            <a:off x="2657906" y="1381239"/>
            <a:ext cx="1243330" cy="535305"/>
          </a:xfrm>
          <a:prstGeom prst="rect">
            <a:avLst/>
          </a:prstGeom>
          <a:solidFill>
            <a:srgbClr val="E6BCFE"/>
          </a:solidFill>
          <a:ln w="25400">
            <a:solidFill>
              <a:srgbClr val="7F7F7F"/>
            </a:solidFill>
          </a:ln>
        </p:spPr>
        <p:txBody>
          <a:bodyPr vert="horz" wrap="square" lIns="0" tIns="40005" rIns="0" bIns="0" rtlCol="0">
            <a:spAutoFit/>
          </a:bodyPr>
          <a:lstStyle/>
          <a:p>
            <a:pPr marL="194310" marR="186690" indent="8255" algn="just">
              <a:lnSpc>
                <a:spcPct val="100000"/>
              </a:lnSpc>
              <a:spcBef>
                <a:spcPts val="315"/>
              </a:spcBef>
            </a:pPr>
            <a:r>
              <a:rPr sz="1000" spc="-10">
                <a:latin typeface="Arial"/>
                <a:cs typeface="Arial"/>
              </a:rPr>
              <a:t>Model </a:t>
            </a:r>
            <a:r>
              <a:rPr sz="1000" spc="-5">
                <a:latin typeface="Arial"/>
                <a:cs typeface="Arial"/>
              </a:rPr>
              <a:t>analysis  </a:t>
            </a:r>
            <a:r>
              <a:rPr sz="1000" spc="-10">
                <a:latin typeface="Arial"/>
                <a:cs typeface="Arial"/>
              </a:rPr>
              <a:t>and</a:t>
            </a:r>
            <a:r>
              <a:rPr sz="1000" spc="-60">
                <a:latin typeface="Arial"/>
                <a:cs typeface="Arial"/>
              </a:rPr>
              <a:t> </a:t>
            </a:r>
            <a:r>
              <a:rPr sz="1000" spc="-10">
                <a:latin typeface="Arial"/>
                <a:cs typeface="Arial"/>
              </a:rPr>
              <a:t>continuous  </a:t>
            </a:r>
            <a:r>
              <a:rPr sz="1000" spc="-5">
                <a:latin typeface="Arial"/>
                <a:cs typeface="Arial"/>
              </a:rPr>
              <a:t>improvemen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3241649" y="1610791"/>
            <a:ext cx="5530850" cy="3341370"/>
            <a:chOff x="3241649" y="1610791"/>
            <a:chExt cx="5530850" cy="3341370"/>
          </a:xfrm>
        </p:grpSpPr>
        <p:sp>
          <p:nvSpPr>
            <p:cNvPr id="61" name="object 61"/>
            <p:cNvSpPr/>
            <p:nvPr/>
          </p:nvSpPr>
          <p:spPr>
            <a:xfrm>
              <a:off x="3241649" y="1916544"/>
              <a:ext cx="76263" cy="16653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900881" y="1610791"/>
              <a:ext cx="4871720" cy="3341370"/>
            </a:xfrm>
            <a:custGeom>
              <a:avLst/>
              <a:gdLst/>
              <a:ahLst/>
              <a:cxnLst/>
              <a:rect l="l" t="t" r="r" b="b"/>
              <a:pathLst>
                <a:path w="4871720" h="3341370">
                  <a:moveTo>
                    <a:pt x="308356" y="2904058"/>
                  </a:moveTo>
                  <a:lnTo>
                    <a:pt x="275018" y="2904058"/>
                  </a:lnTo>
                  <a:lnTo>
                    <a:pt x="275018" y="42862"/>
                  </a:lnTo>
                  <a:lnTo>
                    <a:pt x="275018" y="38100"/>
                  </a:lnTo>
                  <a:lnTo>
                    <a:pt x="275018" y="35471"/>
                  </a:lnTo>
                  <a:lnTo>
                    <a:pt x="272884" y="33337"/>
                  </a:lnTo>
                  <a:lnTo>
                    <a:pt x="76200" y="33337"/>
                  </a:lnTo>
                  <a:lnTo>
                    <a:pt x="76200" y="0"/>
                  </a:lnTo>
                  <a:lnTo>
                    <a:pt x="0" y="38100"/>
                  </a:lnTo>
                  <a:lnTo>
                    <a:pt x="76200" y="76200"/>
                  </a:lnTo>
                  <a:lnTo>
                    <a:pt x="76200" y="42862"/>
                  </a:lnTo>
                  <a:lnTo>
                    <a:pt x="265493" y="42862"/>
                  </a:lnTo>
                  <a:lnTo>
                    <a:pt x="265493" y="2904058"/>
                  </a:lnTo>
                  <a:lnTo>
                    <a:pt x="232156" y="2904058"/>
                  </a:lnTo>
                  <a:lnTo>
                    <a:pt x="270256" y="2980258"/>
                  </a:lnTo>
                  <a:lnTo>
                    <a:pt x="302006" y="2916758"/>
                  </a:lnTo>
                  <a:lnTo>
                    <a:pt x="308356" y="2904058"/>
                  </a:lnTo>
                  <a:close/>
                </a:path>
                <a:path w="4871720" h="3341370">
                  <a:moveTo>
                    <a:pt x="4871237" y="2816936"/>
                  </a:moveTo>
                  <a:lnTo>
                    <a:pt x="4869104" y="2814802"/>
                  </a:lnTo>
                  <a:lnTo>
                    <a:pt x="2015617" y="2814802"/>
                  </a:lnTo>
                  <a:lnTo>
                    <a:pt x="2015617" y="2741218"/>
                  </a:lnTo>
                  <a:lnTo>
                    <a:pt x="2048954" y="2741218"/>
                  </a:lnTo>
                  <a:lnTo>
                    <a:pt x="2042604" y="2728518"/>
                  </a:lnTo>
                  <a:lnTo>
                    <a:pt x="2010854" y="2665018"/>
                  </a:lnTo>
                  <a:lnTo>
                    <a:pt x="1972754" y="2741218"/>
                  </a:lnTo>
                  <a:lnTo>
                    <a:pt x="2006092" y="2741218"/>
                  </a:lnTo>
                  <a:lnTo>
                    <a:pt x="2006092" y="2822206"/>
                  </a:lnTo>
                  <a:lnTo>
                    <a:pt x="2008225" y="2824327"/>
                  </a:lnTo>
                  <a:lnTo>
                    <a:pt x="4861712" y="2824327"/>
                  </a:lnTo>
                  <a:lnTo>
                    <a:pt x="4861712" y="3331489"/>
                  </a:lnTo>
                  <a:lnTo>
                    <a:pt x="4647133" y="3331489"/>
                  </a:lnTo>
                  <a:lnTo>
                    <a:pt x="4647133" y="3341014"/>
                  </a:lnTo>
                  <a:lnTo>
                    <a:pt x="4869104" y="3341014"/>
                  </a:lnTo>
                  <a:lnTo>
                    <a:pt x="4871237" y="3338880"/>
                  </a:lnTo>
                  <a:lnTo>
                    <a:pt x="4871237" y="3336252"/>
                  </a:lnTo>
                  <a:lnTo>
                    <a:pt x="4871237" y="3331489"/>
                  </a:lnTo>
                  <a:lnTo>
                    <a:pt x="4871237" y="2824327"/>
                  </a:lnTo>
                  <a:lnTo>
                    <a:pt x="4871237" y="281693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2860052" y="3546614"/>
            <a:ext cx="892175" cy="375920"/>
          </a:xfrm>
          <a:prstGeom prst="rect">
            <a:avLst/>
          </a:prstGeom>
          <a:solidFill>
            <a:srgbClr val="EBEBEB"/>
          </a:solidFill>
          <a:ln w="25400">
            <a:solidFill>
              <a:srgbClr val="7F7F7F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104775" marR="98425" indent="139700">
              <a:lnSpc>
                <a:spcPct val="100000"/>
              </a:lnSpc>
              <a:spcBef>
                <a:spcPts val="280"/>
              </a:spcBef>
            </a:pPr>
            <a:r>
              <a:rPr sz="1000" spc="-5">
                <a:latin typeface="Arial"/>
                <a:cs typeface="Arial"/>
              </a:rPr>
              <a:t>Trigger  </a:t>
            </a:r>
            <a:r>
              <a:rPr sz="1000">
                <a:latin typeface="Arial"/>
                <a:cs typeface="Arial"/>
              </a:rPr>
              <a:t>(D</a:t>
            </a:r>
            <a:r>
              <a:rPr sz="1000" spc="-10">
                <a:latin typeface="Arial"/>
                <a:cs typeface="Arial"/>
              </a:rPr>
              <a:t>a</a:t>
            </a:r>
            <a:r>
              <a:rPr sz="1000" spc="-5">
                <a:latin typeface="Arial"/>
                <a:cs typeface="Arial"/>
              </a:rPr>
              <a:t>t</a:t>
            </a:r>
            <a:r>
              <a:rPr sz="1000" spc="-10">
                <a:latin typeface="Arial"/>
                <a:cs typeface="Arial"/>
              </a:rPr>
              <a:t>a</a:t>
            </a:r>
            <a:r>
              <a:rPr sz="1000" spc="-5">
                <a:latin typeface="Arial"/>
                <a:cs typeface="Arial"/>
              </a:rPr>
              <a:t>St</a:t>
            </a:r>
            <a:r>
              <a:rPr sz="1000" spc="-10">
                <a:latin typeface="Arial"/>
                <a:cs typeface="Arial"/>
              </a:rPr>
              <a:t>age</a:t>
            </a:r>
            <a:r>
              <a:rPr sz="1000">
                <a:latin typeface="Arial"/>
                <a:cs typeface="Arial"/>
              </a:rPr>
              <a:t>)</a:t>
            </a:r>
          </a:p>
        </p:txBody>
      </p:sp>
      <p:grpSp>
        <p:nvGrpSpPr>
          <p:cNvPr id="64" name="object 64"/>
          <p:cNvGrpSpPr/>
          <p:nvPr/>
        </p:nvGrpSpPr>
        <p:grpSpPr>
          <a:xfrm>
            <a:off x="3751821" y="1376349"/>
            <a:ext cx="6100445" cy="2363470"/>
            <a:chOff x="3751821" y="1376349"/>
            <a:chExt cx="6100445" cy="2363470"/>
          </a:xfrm>
        </p:grpSpPr>
        <p:sp>
          <p:nvSpPr>
            <p:cNvPr id="65" name="object 65"/>
            <p:cNvSpPr/>
            <p:nvPr/>
          </p:nvSpPr>
          <p:spPr>
            <a:xfrm>
              <a:off x="3751821" y="2819209"/>
              <a:ext cx="2675890" cy="920115"/>
            </a:xfrm>
            <a:custGeom>
              <a:avLst/>
              <a:gdLst/>
              <a:ahLst/>
              <a:cxnLst/>
              <a:rect l="l" t="t" r="r" b="b"/>
              <a:pathLst>
                <a:path w="2675890" h="920114">
                  <a:moveTo>
                    <a:pt x="1333144" y="910589"/>
                  </a:moveTo>
                  <a:lnTo>
                    <a:pt x="0" y="910589"/>
                  </a:lnTo>
                  <a:lnTo>
                    <a:pt x="0" y="920114"/>
                  </a:lnTo>
                  <a:lnTo>
                    <a:pt x="1340535" y="920114"/>
                  </a:lnTo>
                  <a:lnTo>
                    <a:pt x="1342669" y="917981"/>
                  </a:lnTo>
                  <a:lnTo>
                    <a:pt x="1342669" y="915352"/>
                  </a:lnTo>
                  <a:lnTo>
                    <a:pt x="1333144" y="915352"/>
                  </a:lnTo>
                  <a:lnTo>
                    <a:pt x="1333144" y="910589"/>
                  </a:lnTo>
                  <a:close/>
                </a:path>
                <a:path w="2675890" h="920114">
                  <a:moveTo>
                    <a:pt x="2599601" y="33337"/>
                  </a:moveTo>
                  <a:lnTo>
                    <a:pt x="1335265" y="33337"/>
                  </a:lnTo>
                  <a:lnTo>
                    <a:pt x="1333144" y="35458"/>
                  </a:lnTo>
                  <a:lnTo>
                    <a:pt x="1333144" y="915352"/>
                  </a:lnTo>
                  <a:lnTo>
                    <a:pt x="1337906" y="910589"/>
                  </a:lnTo>
                  <a:lnTo>
                    <a:pt x="1342669" y="910589"/>
                  </a:lnTo>
                  <a:lnTo>
                    <a:pt x="1342669" y="42862"/>
                  </a:lnTo>
                  <a:lnTo>
                    <a:pt x="1337906" y="42862"/>
                  </a:lnTo>
                  <a:lnTo>
                    <a:pt x="1342669" y="38100"/>
                  </a:lnTo>
                  <a:lnTo>
                    <a:pt x="2599601" y="38100"/>
                  </a:lnTo>
                  <a:lnTo>
                    <a:pt x="2599601" y="33337"/>
                  </a:lnTo>
                  <a:close/>
                </a:path>
                <a:path w="2675890" h="920114">
                  <a:moveTo>
                    <a:pt x="1342669" y="910589"/>
                  </a:moveTo>
                  <a:lnTo>
                    <a:pt x="1337906" y="910589"/>
                  </a:lnTo>
                  <a:lnTo>
                    <a:pt x="1333144" y="915352"/>
                  </a:lnTo>
                  <a:lnTo>
                    <a:pt x="1342669" y="915352"/>
                  </a:lnTo>
                  <a:lnTo>
                    <a:pt x="1342669" y="910589"/>
                  </a:lnTo>
                  <a:close/>
                </a:path>
                <a:path w="2675890" h="920114">
                  <a:moveTo>
                    <a:pt x="2599601" y="0"/>
                  </a:moveTo>
                  <a:lnTo>
                    <a:pt x="2599601" y="76200"/>
                  </a:lnTo>
                  <a:lnTo>
                    <a:pt x="2666276" y="42862"/>
                  </a:lnTo>
                  <a:lnTo>
                    <a:pt x="2612301" y="42862"/>
                  </a:lnTo>
                  <a:lnTo>
                    <a:pt x="2612301" y="33337"/>
                  </a:lnTo>
                  <a:lnTo>
                    <a:pt x="2666276" y="33337"/>
                  </a:lnTo>
                  <a:lnTo>
                    <a:pt x="2599601" y="0"/>
                  </a:lnTo>
                  <a:close/>
                </a:path>
                <a:path w="2675890" h="920114">
                  <a:moveTo>
                    <a:pt x="1342669" y="38100"/>
                  </a:moveTo>
                  <a:lnTo>
                    <a:pt x="1337906" y="42862"/>
                  </a:lnTo>
                  <a:lnTo>
                    <a:pt x="1342669" y="42862"/>
                  </a:lnTo>
                  <a:lnTo>
                    <a:pt x="1342669" y="38100"/>
                  </a:lnTo>
                  <a:close/>
                </a:path>
                <a:path w="2675890" h="920114">
                  <a:moveTo>
                    <a:pt x="2599601" y="38100"/>
                  </a:moveTo>
                  <a:lnTo>
                    <a:pt x="1342669" y="38100"/>
                  </a:lnTo>
                  <a:lnTo>
                    <a:pt x="1342669" y="42862"/>
                  </a:lnTo>
                  <a:lnTo>
                    <a:pt x="2599601" y="42862"/>
                  </a:lnTo>
                  <a:lnTo>
                    <a:pt x="2599601" y="38100"/>
                  </a:lnTo>
                  <a:close/>
                </a:path>
                <a:path w="2675890" h="920114">
                  <a:moveTo>
                    <a:pt x="2666276" y="33337"/>
                  </a:moveTo>
                  <a:lnTo>
                    <a:pt x="2612301" y="33337"/>
                  </a:lnTo>
                  <a:lnTo>
                    <a:pt x="2612301" y="42862"/>
                  </a:lnTo>
                  <a:lnTo>
                    <a:pt x="2666276" y="42862"/>
                  </a:lnTo>
                  <a:lnTo>
                    <a:pt x="2675801" y="38100"/>
                  </a:lnTo>
                  <a:lnTo>
                    <a:pt x="2666276" y="333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8608910" y="1376349"/>
              <a:ext cx="1243330" cy="535305"/>
            </a:xfrm>
            <a:custGeom>
              <a:avLst/>
              <a:gdLst/>
              <a:ahLst/>
              <a:cxnLst/>
              <a:rect l="l" t="t" r="r" b="b"/>
              <a:pathLst>
                <a:path w="1243329" h="535305">
                  <a:moveTo>
                    <a:pt x="1242974" y="0"/>
                  </a:moveTo>
                  <a:lnTo>
                    <a:pt x="0" y="0"/>
                  </a:lnTo>
                  <a:lnTo>
                    <a:pt x="0" y="535304"/>
                  </a:lnTo>
                  <a:lnTo>
                    <a:pt x="1242974" y="535304"/>
                  </a:lnTo>
                  <a:lnTo>
                    <a:pt x="1242974" y="0"/>
                  </a:lnTo>
                  <a:close/>
                </a:path>
              </a:pathLst>
            </a:custGeom>
            <a:solidFill>
              <a:srgbClr val="D4F7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10971982" y="2144928"/>
            <a:ext cx="252729" cy="135191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70"/>
              </a:lnSpc>
            </a:pPr>
            <a:r>
              <a:rPr sz="1600">
                <a:latin typeface="Arial"/>
                <a:cs typeface="Arial"/>
              </a:rPr>
              <a:t>ML</a:t>
            </a:r>
            <a:r>
              <a:rPr sz="1600" spc="-120">
                <a:latin typeface="Arial"/>
                <a:cs typeface="Arial"/>
              </a:rPr>
              <a:t> </a:t>
            </a:r>
            <a:r>
              <a:rPr sz="1600" spc="-5">
                <a:latin typeface="Arial"/>
                <a:cs typeface="Arial"/>
              </a:rPr>
              <a:t>Operations</a:t>
            </a:r>
            <a:endParaRPr sz="16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0971982" y="4163326"/>
            <a:ext cx="252729" cy="155829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70"/>
              </a:lnSpc>
            </a:pPr>
            <a:r>
              <a:rPr sz="1600" spc="-5">
                <a:latin typeface="Arial"/>
                <a:cs typeface="Arial"/>
              </a:rPr>
              <a:t>DS</a:t>
            </a:r>
            <a:r>
              <a:rPr sz="1600" spc="-75">
                <a:latin typeface="Arial"/>
                <a:cs typeface="Arial"/>
              </a:rPr>
              <a:t> </a:t>
            </a:r>
            <a:r>
              <a:rPr sz="1600" spc="-5">
                <a:latin typeface="Arial"/>
                <a:cs typeface="Arial"/>
              </a:rPr>
              <a:t>Developme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608910" y="1376349"/>
            <a:ext cx="1243330" cy="535305"/>
          </a:xfrm>
          <a:prstGeom prst="rect">
            <a:avLst/>
          </a:prstGeom>
          <a:ln w="25400">
            <a:solidFill>
              <a:srgbClr val="7F7F7F"/>
            </a:solidFill>
          </a:ln>
        </p:spPr>
        <p:txBody>
          <a:bodyPr vert="horz" wrap="square" lIns="0" tIns="45085" rIns="0" bIns="0" rtlCol="0">
            <a:spAutoFit/>
          </a:bodyPr>
          <a:lstStyle/>
          <a:p>
            <a:pPr marL="223520">
              <a:lnSpc>
                <a:spcPct val="100000"/>
              </a:lnSpc>
              <a:spcBef>
                <a:spcPts val="355"/>
              </a:spcBef>
            </a:pPr>
            <a:r>
              <a:rPr sz="1000" spc="-10">
                <a:latin typeface="Arial"/>
                <a:cs typeface="Arial"/>
              </a:rPr>
              <a:t>Model </a:t>
            </a:r>
            <a:r>
              <a:rPr sz="1000" spc="-5">
                <a:latin typeface="Arial"/>
                <a:cs typeface="Arial"/>
              </a:rPr>
              <a:t>registry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4342904" y="1373771"/>
            <a:ext cx="4041775" cy="534035"/>
          </a:xfrm>
          <a:prstGeom prst="rect">
            <a:avLst/>
          </a:prstGeom>
          <a:solidFill>
            <a:srgbClr val="E6BCFE"/>
          </a:solidFill>
          <a:ln w="25400">
            <a:solidFill>
              <a:srgbClr val="7F7F7F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150">
              <a:latin typeface="Times New Roman"/>
              <a:cs typeface="Times New Roman"/>
            </a:endParaRPr>
          </a:p>
          <a:p>
            <a:pPr marL="3175" algn="ctr">
              <a:lnSpc>
                <a:spcPct val="100000"/>
              </a:lnSpc>
            </a:pPr>
            <a:r>
              <a:rPr sz="1100" spc="-20">
                <a:latin typeface="Arial"/>
                <a:cs typeface="Arial"/>
              </a:rPr>
              <a:t>AI</a:t>
            </a:r>
            <a:r>
              <a:rPr sz="1100" spc="-45">
                <a:latin typeface="Arial"/>
                <a:cs typeface="Arial"/>
              </a:rPr>
              <a:t> </a:t>
            </a:r>
            <a:r>
              <a:rPr sz="1100" spc="-25">
                <a:latin typeface="Arial"/>
                <a:cs typeface="Arial"/>
              </a:rPr>
              <a:t>Governance</a:t>
            </a:r>
            <a:endParaRPr sz="1100">
              <a:latin typeface="Arial"/>
              <a:cs typeface="Arial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9414891" y="2207577"/>
            <a:ext cx="998855" cy="450850"/>
          </a:xfrm>
          <a:custGeom>
            <a:avLst/>
            <a:gdLst/>
            <a:ahLst/>
            <a:cxnLst/>
            <a:rect l="l" t="t" r="r" b="b"/>
            <a:pathLst>
              <a:path w="998854" h="450850">
                <a:moveTo>
                  <a:pt x="998474" y="0"/>
                </a:moveTo>
                <a:lnTo>
                  <a:pt x="0" y="0"/>
                </a:lnTo>
                <a:lnTo>
                  <a:pt x="0" y="450786"/>
                </a:lnTo>
                <a:lnTo>
                  <a:pt x="998474" y="450786"/>
                </a:lnTo>
                <a:lnTo>
                  <a:pt x="998474" y="0"/>
                </a:lnTo>
                <a:close/>
              </a:path>
            </a:pathLst>
          </a:custGeom>
          <a:solidFill>
            <a:srgbClr val="D4F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 txBox="1"/>
          <p:nvPr/>
        </p:nvSpPr>
        <p:spPr>
          <a:xfrm>
            <a:off x="9414891" y="2207577"/>
            <a:ext cx="998855" cy="450850"/>
          </a:xfrm>
          <a:prstGeom prst="rect">
            <a:avLst/>
          </a:prstGeom>
          <a:ln w="25400">
            <a:solidFill>
              <a:srgbClr val="7F7F7F"/>
            </a:solidFill>
          </a:ln>
        </p:spPr>
        <p:txBody>
          <a:bodyPr vert="horz" wrap="square" lIns="0" tIns="45720" rIns="0" bIns="0" rtlCol="0">
            <a:spAutoFit/>
          </a:bodyPr>
          <a:lstStyle/>
          <a:p>
            <a:pPr marL="294640">
              <a:lnSpc>
                <a:spcPct val="100000"/>
              </a:lnSpc>
              <a:spcBef>
                <a:spcPts val="360"/>
              </a:spcBef>
            </a:pPr>
            <a:r>
              <a:rPr sz="1000" spc="-5">
                <a:latin typeface="Arial"/>
                <a:cs typeface="Arial"/>
              </a:rPr>
              <a:t>Models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73" name="object 73"/>
          <p:cNvGrpSpPr/>
          <p:nvPr/>
        </p:nvGrpSpPr>
        <p:grpSpPr>
          <a:xfrm>
            <a:off x="6414922" y="1603705"/>
            <a:ext cx="3758565" cy="4215765"/>
            <a:chOff x="6414922" y="1603705"/>
            <a:chExt cx="3758565" cy="4215765"/>
          </a:xfrm>
        </p:grpSpPr>
        <p:sp>
          <p:nvSpPr>
            <p:cNvPr id="74" name="object 74"/>
            <p:cNvSpPr/>
            <p:nvPr/>
          </p:nvSpPr>
          <p:spPr>
            <a:xfrm>
              <a:off x="9655213" y="2422707"/>
              <a:ext cx="517829" cy="18646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9414891" y="2658363"/>
              <a:ext cx="537845" cy="3161665"/>
            </a:xfrm>
            <a:custGeom>
              <a:avLst/>
              <a:gdLst/>
              <a:ahLst/>
              <a:cxnLst/>
              <a:rect l="l" t="t" r="r" b="b"/>
              <a:pathLst>
                <a:path w="537845" h="3161665">
                  <a:moveTo>
                    <a:pt x="537337" y="76200"/>
                  </a:moveTo>
                  <a:lnTo>
                    <a:pt x="530987" y="63500"/>
                  </a:lnTo>
                  <a:lnTo>
                    <a:pt x="499237" y="0"/>
                  </a:lnTo>
                  <a:lnTo>
                    <a:pt x="461137" y="76200"/>
                  </a:lnTo>
                  <a:lnTo>
                    <a:pt x="494474" y="76200"/>
                  </a:lnTo>
                  <a:lnTo>
                    <a:pt x="494474" y="581202"/>
                  </a:lnTo>
                  <a:lnTo>
                    <a:pt x="76200" y="581202"/>
                  </a:lnTo>
                  <a:lnTo>
                    <a:pt x="76200" y="547865"/>
                  </a:lnTo>
                  <a:lnTo>
                    <a:pt x="0" y="585965"/>
                  </a:lnTo>
                  <a:lnTo>
                    <a:pt x="76200" y="624065"/>
                  </a:lnTo>
                  <a:lnTo>
                    <a:pt x="76200" y="590727"/>
                  </a:lnTo>
                  <a:lnTo>
                    <a:pt x="494474" y="590727"/>
                  </a:lnTo>
                  <a:lnTo>
                    <a:pt x="494474" y="3151530"/>
                  </a:lnTo>
                  <a:lnTo>
                    <a:pt x="240322" y="3151530"/>
                  </a:lnTo>
                  <a:lnTo>
                    <a:pt x="240322" y="3161055"/>
                  </a:lnTo>
                  <a:lnTo>
                    <a:pt x="501865" y="3161055"/>
                  </a:lnTo>
                  <a:lnTo>
                    <a:pt x="503999" y="3158921"/>
                  </a:lnTo>
                  <a:lnTo>
                    <a:pt x="503999" y="3156293"/>
                  </a:lnTo>
                  <a:lnTo>
                    <a:pt x="503999" y="3151530"/>
                  </a:lnTo>
                  <a:lnTo>
                    <a:pt x="503999" y="588594"/>
                  </a:lnTo>
                  <a:lnTo>
                    <a:pt x="503999" y="585965"/>
                  </a:lnTo>
                  <a:lnTo>
                    <a:pt x="503999" y="581202"/>
                  </a:lnTo>
                  <a:lnTo>
                    <a:pt x="503999" y="76200"/>
                  </a:lnTo>
                  <a:lnTo>
                    <a:pt x="537337" y="762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8984348" y="1621612"/>
              <a:ext cx="517829" cy="18646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8384311" y="1603705"/>
              <a:ext cx="224599" cy="7726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9192298" y="1911654"/>
              <a:ext cx="727075" cy="296545"/>
            </a:xfrm>
            <a:custGeom>
              <a:avLst/>
              <a:gdLst/>
              <a:ahLst/>
              <a:cxnLst/>
              <a:rect l="l" t="t" r="r" b="b"/>
              <a:pathLst>
                <a:path w="727075" h="296544">
                  <a:moveTo>
                    <a:pt x="717067" y="147954"/>
                  </a:moveTo>
                  <a:lnTo>
                    <a:pt x="717067" y="295922"/>
                  </a:lnTo>
                  <a:lnTo>
                    <a:pt x="726592" y="295922"/>
                  </a:lnTo>
                  <a:lnTo>
                    <a:pt x="726592" y="152717"/>
                  </a:lnTo>
                  <a:lnTo>
                    <a:pt x="721829" y="152717"/>
                  </a:lnTo>
                  <a:lnTo>
                    <a:pt x="717067" y="147954"/>
                  </a:lnTo>
                  <a:close/>
                </a:path>
                <a:path w="727075" h="296544">
                  <a:moveTo>
                    <a:pt x="42862" y="63500"/>
                  </a:moveTo>
                  <a:lnTo>
                    <a:pt x="33337" y="63500"/>
                  </a:lnTo>
                  <a:lnTo>
                    <a:pt x="33337" y="150583"/>
                  </a:lnTo>
                  <a:lnTo>
                    <a:pt x="35471" y="152717"/>
                  </a:lnTo>
                  <a:lnTo>
                    <a:pt x="717067" y="152717"/>
                  </a:lnTo>
                  <a:lnTo>
                    <a:pt x="717067" y="147954"/>
                  </a:lnTo>
                  <a:lnTo>
                    <a:pt x="42862" y="147954"/>
                  </a:lnTo>
                  <a:lnTo>
                    <a:pt x="38100" y="143192"/>
                  </a:lnTo>
                  <a:lnTo>
                    <a:pt x="42862" y="143192"/>
                  </a:lnTo>
                  <a:lnTo>
                    <a:pt x="42862" y="63500"/>
                  </a:lnTo>
                  <a:close/>
                </a:path>
                <a:path w="727075" h="296544">
                  <a:moveTo>
                    <a:pt x="724458" y="143192"/>
                  </a:moveTo>
                  <a:lnTo>
                    <a:pt x="42862" y="143192"/>
                  </a:lnTo>
                  <a:lnTo>
                    <a:pt x="42862" y="147954"/>
                  </a:lnTo>
                  <a:lnTo>
                    <a:pt x="717067" y="147954"/>
                  </a:lnTo>
                  <a:lnTo>
                    <a:pt x="721829" y="152717"/>
                  </a:lnTo>
                  <a:lnTo>
                    <a:pt x="726592" y="152717"/>
                  </a:lnTo>
                  <a:lnTo>
                    <a:pt x="726592" y="145326"/>
                  </a:lnTo>
                  <a:lnTo>
                    <a:pt x="724458" y="143192"/>
                  </a:lnTo>
                  <a:close/>
                </a:path>
                <a:path w="727075" h="296544">
                  <a:moveTo>
                    <a:pt x="42862" y="143192"/>
                  </a:moveTo>
                  <a:lnTo>
                    <a:pt x="38100" y="143192"/>
                  </a:lnTo>
                  <a:lnTo>
                    <a:pt x="42862" y="147954"/>
                  </a:lnTo>
                  <a:lnTo>
                    <a:pt x="42862" y="143192"/>
                  </a:lnTo>
                  <a:close/>
                </a:path>
                <a:path w="727075" h="296544">
                  <a:moveTo>
                    <a:pt x="38100" y="0"/>
                  </a:moveTo>
                  <a:lnTo>
                    <a:pt x="0" y="76200"/>
                  </a:lnTo>
                  <a:lnTo>
                    <a:pt x="33337" y="76200"/>
                  </a:lnTo>
                  <a:lnTo>
                    <a:pt x="33337" y="63500"/>
                  </a:lnTo>
                  <a:lnTo>
                    <a:pt x="69850" y="63500"/>
                  </a:lnTo>
                  <a:lnTo>
                    <a:pt x="38100" y="0"/>
                  </a:lnTo>
                  <a:close/>
                </a:path>
                <a:path w="727075" h="296544">
                  <a:moveTo>
                    <a:pt x="69850" y="63500"/>
                  </a:moveTo>
                  <a:lnTo>
                    <a:pt x="42862" y="63500"/>
                  </a:lnTo>
                  <a:lnTo>
                    <a:pt x="42862" y="76200"/>
                  </a:lnTo>
                  <a:lnTo>
                    <a:pt x="76200" y="76200"/>
                  </a:lnTo>
                  <a:lnTo>
                    <a:pt x="69850" y="635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6427622" y="2732455"/>
              <a:ext cx="868680" cy="250190"/>
            </a:xfrm>
            <a:custGeom>
              <a:avLst/>
              <a:gdLst/>
              <a:ahLst/>
              <a:cxnLst/>
              <a:rect l="l" t="t" r="r" b="b"/>
              <a:pathLst>
                <a:path w="868679" h="250189">
                  <a:moveTo>
                    <a:pt x="0" y="0"/>
                  </a:moveTo>
                  <a:lnTo>
                    <a:pt x="868188" y="0"/>
                  </a:lnTo>
                  <a:lnTo>
                    <a:pt x="868188" y="249696"/>
                  </a:lnTo>
                  <a:lnTo>
                    <a:pt x="0" y="249696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0" name="object 80"/>
          <p:cNvSpPr txBox="1"/>
          <p:nvPr/>
        </p:nvSpPr>
        <p:spPr>
          <a:xfrm>
            <a:off x="6440322" y="2723630"/>
            <a:ext cx="843280" cy="276860"/>
          </a:xfrm>
          <a:prstGeom prst="rect">
            <a:avLst/>
          </a:prstGeom>
          <a:solidFill>
            <a:srgbClr val="D4F7FF"/>
          </a:solidFill>
        </p:spPr>
        <p:txBody>
          <a:bodyPr vert="horz" wrap="square" lIns="0" tIns="57150" rIns="0" bIns="0" rtlCol="0">
            <a:spAutoFit/>
          </a:bodyPr>
          <a:lstStyle/>
          <a:p>
            <a:pPr marL="105410">
              <a:lnSpc>
                <a:spcPct val="100000"/>
              </a:lnSpc>
              <a:spcBef>
                <a:spcPts val="450"/>
              </a:spcBef>
            </a:pPr>
            <a:r>
              <a:rPr sz="1000" spc="-5">
                <a:latin typeface="Arial"/>
                <a:cs typeface="Arial"/>
              </a:rPr>
              <a:t>docker_run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81" name="object 81"/>
          <p:cNvGrpSpPr/>
          <p:nvPr/>
        </p:nvGrpSpPr>
        <p:grpSpPr>
          <a:xfrm>
            <a:off x="5919482" y="2205672"/>
            <a:ext cx="955040" cy="492125"/>
            <a:chOff x="5919482" y="2205672"/>
            <a:chExt cx="955040" cy="492125"/>
          </a:xfrm>
        </p:grpSpPr>
        <p:sp>
          <p:nvSpPr>
            <p:cNvPr id="82" name="object 82"/>
            <p:cNvSpPr/>
            <p:nvPr/>
          </p:nvSpPr>
          <p:spPr>
            <a:xfrm>
              <a:off x="5932182" y="2218372"/>
              <a:ext cx="929640" cy="466725"/>
            </a:xfrm>
            <a:custGeom>
              <a:avLst/>
              <a:gdLst/>
              <a:ahLst/>
              <a:cxnLst/>
              <a:rect l="l" t="t" r="r" b="b"/>
              <a:pathLst>
                <a:path w="929640" h="466725">
                  <a:moveTo>
                    <a:pt x="929525" y="0"/>
                  </a:moveTo>
                  <a:lnTo>
                    <a:pt x="0" y="0"/>
                  </a:lnTo>
                  <a:lnTo>
                    <a:pt x="0" y="466585"/>
                  </a:lnTo>
                  <a:lnTo>
                    <a:pt x="929525" y="466585"/>
                  </a:lnTo>
                  <a:lnTo>
                    <a:pt x="929525" y="0"/>
                  </a:lnTo>
                  <a:close/>
                </a:path>
              </a:pathLst>
            </a:custGeom>
            <a:solidFill>
              <a:srgbClr val="D4F7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5932182" y="2218372"/>
              <a:ext cx="929640" cy="466725"/>
            </a:xfrm>
            <a:custGeom>
              <a:avLst/>
              <a:gdLst/>
              <a:ahLst/>
              <a:cxnLst/>
              <a:rect l="l" t="t" r="r" b="b"/>
              <a:pathLst>
                <a:path w="929640" h="466725">
                  <a:moveTo>
                    <a:pt x="0" y="0"/>
                  </a:moveTo>
                  <a:lnTo>
                    <a:pt x="929536" y="0"/>
                  </a:lnTo>
                  <a:lnTo>
                    <a:pt x="929536" y="466588"/>
                  </a:lnTo>
                  <a:lnTo>
                    <a:pt x="0" y="466588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4" name="object 84"/>
          <p:cNvSpPr txBox="1"/>
          <p:nvPr/>
        </p:nvSpPr>
        <p:spPr>
          <a:xfrm>
            <a:off x="6362014" y="2362707"/>
            <a:ext cx="82550" cy="17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000" spc="-5">
                <a:latin typeface="Arial"/>
                <a:cs typeface="Arial"/>
              </a:rPr>
              <a:t>..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85" name="object 85"/>
          <p:cNvGrpSpPr/>
          <p:nvPr/>
        </p:nvGrpSpPr>
        <p:grpSpPr>
          <a:xfrm>
            <a:off x="7295807" y="1911654"/>
            <a:ext cx="1939925" cy="950594"/>
            <a:chOff x="7295807" y="1911654"/>
            <a:chExt cx="1939925" cy="950594"/>
          </a:xfrm>
        </p:grpSpPr>
        <p:sp>
          <p:nvSpPr>
            <p:cNvPr id="86" name="object 86"/>
            <p:cNvSpPr/>
            <p:nvPr/>
          </p:nvSpPr>
          <p:spPr>
            <a:xfrm>
              <a:off x="7910461" y="1911654"/>
              <a:ext cx="1325245" cy="465455"/>
            </a:xfrm>
            <a:custGeom>
              <a:avLst/>
              <a:gdLst/>
              <a:ahLst/>
              <a:cxnLst/>
              <a:rect l="l" t="t" r="r" b="b"/>
              <a:pathLst>
                <a:path w="1325245" h="465455">
                  <a:moveTo>
                    <a:pt x="76200" y="388899"/>
                  </a:moveTo>
                  <a:lnTo>
                    <a:pt x="0" y="426999"/>
                  </a:lnTo>
                  <a:lnTo>
                    <a:pt x="76200" y="465099"/>
                  </a:lnTo>
                  <a:lnTo>
                    <a:pt x="76200" y="431761"/>
                  </a:lnTo>
                  <a:lnTo>
                    <a:pt x="63500" y="431761"/>
                  </a:lnTo>
                  <a:lnTo>
                    <a:pt x="63500" y="422236"/>
                  </a:lnTo>
                  <a:lnTo>
                    <a:pt x="76200" y="422236"/>
                  </a:lnTo>
                  <a:lnTo>
                    <a:pt x="76200" y="388899"/>
                  </a:lnTo>
                  <a:close/>
                </a:path>
                <a:path w="1325245" h="465455">
                  <a:moveTo>
                    <a:pt x="76200" y="422236"/>
                  </a:moveTo>
                  <a:lnTo>
                    <a:pt x="63500" y="422236"/>
                  </a:lnTo>
                  <a:lnTo>
                    <a:pt x="63500" y="431761"/>
                  </a:lnTo>
                  <a:lnTo>
                    <a:pt x="76200" y="431761"/>
                  </a:lnTo>
                  <a:lnTo>
                    <a:pt x="76200" y="422236"/>
                  </a:lnTo>
                  <a:close/>
                </a:path>
                <a:path w="1325245" h="465455">
                  <a:moveTo>
                    <a:pt x="1315173" y="422236"/>
                  </a:moveTo>
                  <a:lnTo>
                    <a:pt x="76200" y="422236"/>
                  </a:lnTo>
                  <a:lnTo>
                    <a:pt x="76200" y="431761"/>
                  </a:lnTo>
                  <a:lnTo>
                    <a:pt x="1322565" y="431761"/>
                  </a:lnTo>
                  <a:lnTo>
                    <a:pt x="1324698" y="429628"/>
                  </a:lnTo>
                  <a:lnTo>
                    <a:pt x="1324698" y="426999"/>
                  </a:lnTo>
                  <a:lnTo>
                    <a:pt x="1315173" y="426999"/>
                  </a:lnTo>
                  <a:lnTo>
                    <a:pt x="1315173" y="422236"/>
                  </a:lnTo>
                  <a:close/>
                </a:path>
                <a:path w="1325245" h="465455">
                  <a:moveTo>
                    <a:pt x="1324698" y="0"/>
                  </a:moveTo>
                  <a:lnTo>
                    <a:pt x="1315173" y="0"/>
                  </a:lnTo>
                  <a:lnTo>
                    <a:pt x="1315173" y="426999"/>
                  </a:lnTo>
                  <a:lnTo>
                    <a:pt x="1319936" y="422236"/>
                  </a:lnTo>
                  <a:lnTo>
                    <a:pt x="1324698" y="422236"/>
                  </a:lnTo>
                  <a:lnTo>
                    <a:pt x="1324698" y="0"/>
                  </a:lnTo>
                  <a:close/>
                </a:path>
                <a:path w="1325245" h="465455">
                  <a:moveTo>
                    <a:pt x="1324698" y="422236"/>
                  </a:moveTo>
                  <a:lnTo>
                    <a:pt x="1319936" y="422236"/>
                  </a:lnTo>
                  <a:lnTo>
                    <a:pt x="1315173" y="426999"/>
                  </a:lnTo>
                  <a:lnTo>
                    <a:pt x="1324698" y="426999"/>
                  </a:lnTo>
                  <a:lnTo>
                    <a:pt x="1324698" y="42223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7295807" y="2689415"/>
              <a:ext cx="205181" cy="172656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8" name="object 88"/>
          <p:cNvSpPr txBox="1"/>
          <p:nvPr/>
        </p:nvSpPr>
        <p:spPr>
          <a:xfrm>
            <a:off x="1099755" y="1681251"/>
            <a:ext cx="891540" cy="401955"/>
          </a:xfrm>
          <a:prstGeom prst="rect">
            <a:avLst/>
          </a:prstGeom>
          <a:solidFill>
            <a:srgbClr val="EBEBEB"/>
          </a:solidFill>
          <a:ln w="25400">
            <a:solidFill>
              <a:srgbClr val="7F7F7F"/>
            </a:solidFill>
          </a:ln>
        </p:spPr>
        <p:txBody>
          <a:bodyPr vert="horz" wrap="square" lIns="0" tIns="47625" rIns="0" bIns="0" rtlCol="0">
            <a:spAutoFit/>
          </a:bodyPr>
          <a:lstStyle/>
          <a:p>
            <a:pPr marL="97790" marR="90805" indent="66675">
              <a:lnSpc>
                <a:spcPct val="100000"/>
              </a:lnSpc>
              <a:spcBef>
                <a:spcPts val="375"/>
              </a:spcBef>
            </a:pPr>
            <a:r>
              <a:rPr sz="1000" spc="-5">
                <a:latin typeface="Arial"/>
                <a:cs typeface="Arial"/>
              </a:rPr>
              <a:t>Prediction  loop</a:t>
            </a:r>
            <a:r>
              <a:rPr sz="1000" spc="-95">
                <a:latin typeface="Arial"/>
                <a:cs typeface="Arial"/>
              </a:rPr>
              <a:t> </a:t>
            </a:r>
            <a:r>
              <a:rPr sz="1000" spc="-5">
                <a:latin typeface="Arial"/>
                <a:cs typeface="Arial"/>
              </a:rPr>
              <a:t>monitor</a:t>
            </a:r>
            <a:endParaRPr sz="1000">
              <a:latin typeface="Arial"/>
              <a:cs typeface="Arial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1508302" y="2083079"/>
            <a:ext cx="78105" cy="300355"/>
          </a:xfrm>
          <a:custGeom>
            <a:avLst/>
            <a:gdLst/>
            <a:ahLst/>
            <a:cxnLst/>
            <a:rect l="l" t="t" r="r" b="b"/>
            <a:pathLst>
              <a:path w="78105" h="300355">
                <a:moveTo>
                  <a:pt x="35137" y="224143"/>
                </a:moveTo>
                <a:lnTo>
                  <a:pt x="1803" y="224548"/>
                </a:lnTo>
                <a:lnTo>
                  <a:pt x="40817" y="300278"/>
                </a:lnTo>
                <a:lnTo>
                  <a:pt x="71579" y="236842"/>
                </a:lnTo>
                <a:lnTo>
                  <a:pt x="35293" y="236842"/>
                </a:lnTo>
                <a:lnTo>
                  <a:pt x="35137" y="224143"/>
                </a:lnTo>
                <a:close/>
              </a:path>
              <a:path w="78105" h="300355">
                <a:moveTo>
                  <a:pt x="44662" y="224027"/>
                </a:moveTo>
                <a:lnTo>
                  <a:pt x="35137" y="224143"/>
                </a:lnTo>
                <a:lnTo>
                  <a:pt x="35293" y="236842"/>
                </a:lnTo>
                <a:lnTo>
                  <a:pt x="44818" y="236727"/>
                </a:lnTo>
                <a:lnTo>
                  <a:pt x="44662" y="224027"/>
                </a:lnTo>
                <a:close/>
              </a:path>
              <a:path w="78105" h="300355">
                <a:moveTo>
                  <a:pt x="77990" y="223621"/>
                </a:moveTo>
                <a:lnTo>
                  <a:pt x="44662" y="224027"/>
                </a:lnTo>
                <a:lnTo>
                  <a:pt x="44818" y="236727"/>
                </a:lnTo>
                <a:lnTo>
                  <a:pt x="35293" y="236842"/>
                </a:lnTo>
                <a:lnTo>
                  <a:pt x="71579" y="236842"/>
                </a:lnTo>
                <a:lnTo>
                  <a:pt x="77990" y="223621"/>
                </a:lnTo>
                <a:close/>
              </a:path>
              <a:path w="78105" h="300355">
                <a:moveTo>
                  <a:pt x="42852" y="76135"/>
                </a:moveTo>
                <a:lnTo>
                  <a:pt x="33327" y="76251"/>
                </a:lnTo>
                <a:lnTo>
                  <a:pt x="35137" y="224143"/>
                </a:lnTo>
                <a:lnTo>
                  <a:pt x="44662" y="224027"/>
                </a:lnTo>
                <a:lnTo>
                  <a:pt x="42852" y="76135"/>
                </a:lnTo>
                <a:close/>
              </a:path>
              <a:path w="78105" h="300355">
                <a:moveTo>
                  <a:pt x="37160" y="0"/>
                </a:moveTo>
                <a:lnTo>
                  <a:pt x="0" y="76657"/>
                </a:lnTo>
                <a:lnTo>
                  <a:pt x="33327" y="76251"/>
                </a:lnTo>
                <a:lnTo>
                  <a:pt x="33172" y="63550"/>
                </a:lnTo>
                <a:lnTo>
                  <a:pt x="42697" y="63436"/>
                </a:lnTo>
                <a:lnTo>
                  <a:pt x="69851" y="63436"/>
                </a:lnTo>
                <a:lnTo>
                  <a:pt x="37160" y="0"/>
                </a:lnTo>
                <a:close/>
              </a:path>
              <a:path w="78105" h="300355">
                <a:moveTo>
                  <a:pt x="42697" y="63436"/>
                </a:moveTo>
                <a:lnTo>
                  <a:pt x="33172" y="63550"/>
                </a:lnTo>
                <a:lnTo>
                  <a:pt x="33327" y="76251"/>
                </a:lnTo>
                <a:lnTo>
                  <a:pt x="42852" y="76135"/>
                </a:lnTo>
                <a:lnTo>
                  <a:pt x="42697" y="63436"/>
                </a:lnTo>
                <a:close/>
              </a:path>
              <a:path w="78105" h="300355">
                <a:moveTo>
                  <a:pt x="69851" y="63436"/>
                </a:moveTo>
                <a:lnTo>
                  <a:pt x="42697" y="63436"/>
                </a:lnTo>
                <a:lnTo>
                  <a:pt x="42852" y="76135"/>
                </a:lnTo>
                <a:lnTo>
                  <a:pt x="76187" y="75730"/>
                </a:lnTo>
                <a:lnTo>
                  <a:pt x="69851" y="6343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345376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55"/>
              <a:t>Example </a:t>
            </a:r>
            <a:r>
              <a:rPr spc="-165"/>
              <a:t>architecture</a:t>
            </a:r>
            <a:r>
              <a:rPr spc="-290"/>
              <a:t> </a:t>
            </a:r>
            <a:r>
              <a:rPr spc="-105"/>
              <a:t>(OSS)</a:t>
            </a:r>
          </a:p>
        </p:txBody>
      </p:sp>
      <p:sp>
        <p:nvSpPr>
          <p:cNvPr id="91" name="object 91"/>
          <p:cNvSpPr/>
          <p:nvPr/>
        </p:nvSpPr>
        <p:spPr>
          <a:xfrm>
            <a:off x="10834611" y="0"/>
            <a:ext cx="1357630" cy="713740"/>
          </a:xfrm>
          <a:custGeom>
            <a:avLst/>
            <a:gdLst/>
            <a:ahLst/>
            <a:cxnLst/>
            <a:rect l="l" t="t" r="r" b="b"/>
            <a:pathLst>
              <a:path w="1357629" h="713740">
                <a:moveTo>
                  <a:pt x="703923" y="0"/>
                </a:moveTo>
                <a:lnTo>
                  <a:pt x="17675" y="0"/>
                </a:lnTo>
                <a:lnTo>
                  <a:pt x="0" y="35369"/>
                </a:lnTo>
                <a:lnTo>
                  <a:pt x="1357388" y="713721"/>
                </a:lnTo>
                <a:lnTo>
                  <a:pt x="1357388" y="326573"/>
                </a:lnTo>
                <a:lnTo>
                  <a:pt x="703923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 txBox="1"/>
          <p:nvPr/>
        </p:nvSpPr>
        <p:spPr>
          <a:xfrm rot="1560000">
            <a:off x="11144250" y="184015"/>
            <a:ext cx="1051987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650" spc="-82" baseline="2525">
                <a:latin typeface="Trebuchet MS"/>
                <a:cs typeface="Trebuchet MS"/>
              </a:rPr>
              <a:t>English</a:t>
            </a:r>
            <a:r>
              <a:rPr sz="1650" spc="-187" baseline="2525">
                <a:latin typeface="Trebuchet MS"/>
                <a:cs typeface="Trebuchet MS"/>
              </a:rPr>
              <a:t> </a:t>
            </a:r>
            <a:r>
              <a:rPr sz="1650" spc="-97" baseline="2525">
                <a:latin typeface="Trebuchet MS"/>
                <a:cs typeface="Trebuchet MS"/>
              </a:rPr>
              <a:t>tran</a:t>
            </a:r>
            <a:r>
              <a:rPr sz="1100" spc="-65">
                <a:latin typeface="Trebuchet MS"/>
                <a:cs typeface="Trebuchet MS"/>
              </a:rPr>
              <a:t>slation</a:t>
            </a:r>
            <a:endParaRPr sz="11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6C03A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168138" y="1372476"/>
            <a:ext cx="1022985" cy="1022985"/>
          </a:xfrm>
          <a:custGeom>
            <a:avLst/>
            <a:gdLst/>
            <a:ahLst/>
            <a:cxnLst/>
            <a:rect l="l" t="t" r="r" b="b"/>
            <a:pathLst>
              <a:path w="1022984" h="1022985">
                <a:moveTo>
                  <a:pt x="511301" y="0"/>
                </a:moveTo>
                <a:lnTo>
                  <a:pt x="462060" y="2340"/>
                </a:lnTo>
                <a:lnTo>
                  <a:pt x="414142" y="9219"/>
                </a:lnTo>
                <a:lnTo>
                  <a:pt x="367763" y="20422"/>
                </a:lnTo>
                <a:lnTo>
                  <a:pt x="323137" y="35735"/>
                </a:lnTo>
                <a:lnTo>
                  <a:pt x="280478" y="54943"/>
                </a:lnTo>
                <a:lnTo>
                  <a:pt x="240001" y="77833"/>
                </a:lnTo>
                <a:lnTo>
                  <a:pt x="201919" y="104189"/>
                </a:lnTo>
                <a:lnTo>
                  <a:pt x="166447" y="133799"/>
                </a:lnTo>
                <a:lnTo>
                  <a:pt x="133799" y="166447"/>
                </a:lnTo>
                <a:lnTo>
                  <a:pt x="104189" y="201919"/>
                </a:lnTo>
                <a:lnTo>
                  <a:pt x="77833" y="240001"/>
                </a:lnTo>
                <a:lnTo>
                  <a:pt x="54943" y="280478"/>
                </a:lnTo>
                <a:lnTo>
                  <a:pt x="35735" y="323137"/>
                </a:lnTo>
                <a:lnTo>
                  <a:pt x="20422" y="367763"/>
                </a:lnTo>
                <a:lnTo>
                  <a:pt x="9219" y="414142"/>
                </a:lnTo>
                <a:lnTo>
                  <a:pt x="2340" y="462060"/>
                </a:lnTo>
                <a:lnTo>
                  <a:pt x="0" y="511301"/>
                </a:lnTo>
                <a:lnTo>
                  <a:pt x="2340" y="560543"/>
                </a:lnTo>
                <a:lnTo>
                  <a:pt x="9219" y="608461"/>
                </a:lnTo>
                <a:lnTo>
                  <a:pt x="20422" y="654840"/>
                </a:lnTo>
                <a:lnTo>
                  <a:pt x="35735" y="699466"/>
                </a:lnTo>
                <a:lnTo>
                  <a:pt x="54943" y="742125"/>
                </a:lnTo>
                <a:lnTo>
                  <a:pt x="77833" y="782602"/>
                </a:lnTo>
                <a:lnTo>
                  <a:pt x="104189" y="820684"/>
                </a:lnTo>
                <a:lnTo>
                  <a:pt x="133799" y="856156"/>
                </a:lnTo>
                <a:lnTo>
                  <a:pt x="166447" y="888804"/>
                </a:lnTo>
                <a:lnTo>
                  <a:pt x="201919" y="918414"/>
                </a:lnTo>
                <a:lnTo>
                  <a:pt x="240001" y="944770"/>
                </a:lnTo>
                <a:lnTo>
                  <a:pt x="280478" y="967660"/>
                </a:lnTo>
                <a:lnTo>
                  <a:pt x="323137" y="986868"/>
                </a:lnTo>
                <a:lnTo>
                  <a:pt x="367763" y="1002181"/>
                </a:lnTo>
                <a:lnTo>
                  <a:pt x="414142" y="1013384"/>
                </a:lnTo>
                <a:lnTo>
                  <a:pt x="462060" y="1020263"/>
                </a:lnTo>
                <a:lnTo>
                  <a:pt x="511301" y="1022603"/>
                </a:lnTo>
                <a:lnTo>
                  <a:pt x="560543" y="1020263"/>
                </a:lnTo>
                <a:lnTo>
                  <a:pt x="608461" y="1013384"/>
                </a:lnTo>
                <a:lnTo>
                  <a:pt x="654840" y="1002181"/>
                </a:lnTo>
                <a:lnTo>
                  <a:pt x="699466" y="986868"/>
                </a:lnTo>
                <a:lnTo>
                  <a:pt x="742125" y="967660"/>
                </a:lnTo>
                <a:lnTo>
                  <a:pt x="782602" y="944770"/>
                </a:lnTo>
                <a:lnTo>
                  <a:pt x="820684" y="918414"/>
                </a:lnTo>
                <a:lnTo>
                  <a:pt x="856156" y="888804"/>
                </a:lnTo>
                <a:lnTo>
                  <a:pt x="888804" y="856156"/>
                </a:lnTo>
                <a:lnTo>
                  <a:pt x="918414" y="820684"/>
                </a:lnTo>
                <a:lnTo>
                  <a:pt x="944770" y="782602"/>
                </a:lnTo>
                <a:lnTo>
                  <a:pt x="967660" y="742125"/>
                </a:lnTo>
                <a:lnTo>
                  <a:pt x="986868" y="699466"/>
                </a:lnTo>
                <a:lnTo>
                  <a:pt x="1002181" y="654840"/>
                </a:lnTo>
                <a:lnTo>
                  <a:pt x="1013384" y="608461"/>
                </a:lnTo>
                <a:lnTo>
                  <a:pt x="1020263" y="560543"/>
                </a:lnTo>
                <a:lnTo>
                  <a:pt x="1022603" y="511301"/>
                </a:lnTo>
                <a:lnTo>
                  <a:pt x="1020263" y="462060"/>
                </a:lnTo>
                <a:lnTo>
                  <a:pt x="1013384" y="414142"/>
                </a:lnTo>
                <a:lnTo>
                  <a:pt x="1002181" y="367763"/>
                </a:lnTo>
                <a:lnTo>
                  <a:pt x="986868" y="323137"/>
                </a:lnTo>
                <a:lnTo>
                  <a:pt x="967660" y="280478"/>
                </a:lnTo>
                <a:lnTo>
                  <a:pt x="944770" y="240001"/>
                </a:lnTo>
                <a:lnTo>
                  <a:pt x="918414" y="201919"/>
                </a:lnTo>
                <a:lnTo>
                  <a:pt x="888804" y="166447"/>
                </a:lnTo>
                <a:lnTo>
                  <a:pt x="856156" y="133799"/>
                </a:lnTo>
                <a:lnTo>
                  <a:pt x="820684" y="104189"/>
                </a:lnTo>
                <a:lnTo>
                  <a:pt x="782602" y="77833"/>
                </a:lnTo>
                <a:lnTo>
                  <a:pt x="742125" y="54943"/>
                </a:lnTo>
                <a:lnTo>
                  <a:pt x="699466" y="35735"/>
                </a:lnTo>
                <a:lnTo>
                  <a:pt x="654840" y="20422"/>
                </a:lnTo>
                <a:lnTo>
                  <a:pt x="608461" y="9219"/>
                </a:lnTo>
                <a:lnTo>
                  <a:pt x="560543" y="2340"/>
                </a:lnTo>
                <a:lnTo>
                  <a:pt x="511301" y="0"/>
                </a:lnTo>
                <a:close/>
              </a:path>
            </a:pathLst>
          </a:custGeom>
          <a:solidFill>
            <a:srgbClr val="6C03A8">
              <a:alpha val="6783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7898345" y="1361947"/>
            <a:ext cx="1211580" cy="909319"/>
          </a:xfrm>
          <a:prstGeom prst="rect">
            <a:avLst/>
          </a:prstGeom>
        </p:spPr>
        <p:txBody>
          <a:bodyPr vert="horz" wrap="square" lIns="0" tIns="1162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15"/>
              </a:spcBef>
            </a:pPr>
            <a:r>
              <a:rPr sz="2400" spc="-45">
                <a:solidFill>
                  <a:srgbClr val="29D5FF"/>
                </a:solidFill>
                <a:latin typeface="Trebuchet MS"/>
                <a:cs typeface="Trebuchet MS"/>
              </a:rPr>
              <a:t>4</a:t>
            </a:r>
            <a:r>
              <a:rPr sz="2400" spc="-204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2400" spc="-50">
                <a:solidFill>
                  <a:srgbClr val="29D5FF"/>
                </a:solidFill>
                <a:latin typeface="Trebuchet MS"/>
                <a:cs typeface="Trebuchet MS"/>
              </a:rPr>
              <a:t>261</a:t>
            </a:r>
            <a:endParaRPr sz="2400">
              <a:latin typeface="Trebuchet MS"/>
              <a:cs typeface="Trebuchet MS"/>
            </a:endParaRPr>
          </a:p>
          <a:p>
            <a:pPr marL="12700" marR="5080">
              <a:lnSpc>
                <a:spcPts val="1420"/>
              </a:lnSpc>
              <a:spcBef>
                <a:spcPts val="470"/>
              </a:spcBef>
            </a:pPr>
            <a:r>
              <a:rPr sz="1200" spc="-50">
                <a:solidFill>
                  <a:srgbClr val="FFFFFF"/>
                </a:solidFill>
                <a:latin typeface="Trebuchet MS"/>
                <a:cs typeface="Trebuchet MS"/>
              </a:rPr>
              <a:t>employees</a:t>
            </a:r>
            <a:r>
              <a:rPr sz="1200" spc="-165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55">
                <a:solidFill>
                  <a:srgbClr val="FFFFFF"/>
                </a:solidFill>
                <a:latin typeface="Trebuchet MS"/>
                <a:cs typeface="Trebuchet MS"/>
              </a:rPr>
              <a:t>globally  </a:t>
            </a:r>
            <a:r>
              <a:rPr sz="1200" spc="-45">
                <a:solidFill>
                  <a:srgbClr val="FFFFFF"/>
                </a:solidFill>
                <a:latin typeface="Trebuchet MS"/>
                <a:cs typeface="Trebuchet MS"/>
              </a:rPr>
              <a:t>and </a:t>
            </a:r>
            <a:r>
              <a:rPr sz="1200" spc="-25">
                <a:solidFill>
                  <a:srgbClr val="FFFFFF"/>
                </a:solidFill>
                <a:latin typeface="Trebuchet MS"/>
                <a:cs typeface="Trebuchet MS"/>
              </a:rPr>
              <a:t>150 </a:t>
            </a:r>
            <a:r>
              <a:rPr sz="1200" spc="-50">
                <a:solidFill>
                  <a:srgbClr val="FFFFFF"/>
                </a:solidFill>
                <a:latin typeface="Trebuchet MS"/>
                <a:cs typeface="Trebuchet MS"/>
              </a:rPr>
              <a:t>in</a:t>
            </a:r>
            <a:r>
              <a:rPr sz="1200" spc="-25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40">
                <a:solidFill>
                  <a:srgbClr val="FFFFFF"/>
                </a:solidFill>
                <a:latin typeface="Trebuchet MS"/>
                <a:cs typeface="Trebuchet MS"/>
              </a:rPr>
              <a:t>Norway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9124226" y="1372476"/>
            <a:ext cx="2555240" cy="1026794"/>
            <a:chOff x="9124226" y="1372476"/>
            <a:chExt cx="2555240" cy="1026794"/>
          </a:xfrm>
        </p:grpSpPr>
        <p:sp>
          <p:nvSpPr>
            <p:cNvPr id="7" name="object 7"/>
            <p:cNvSpPr/>
            <p:nvPr/>
          </p:nvSpPr>
          <p:spPr>
            <a:xfrm>
              <a:off x="9124226" y="1372476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34232" y="1372476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>
                <a:alpha val="7097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0145534" y="1372476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76CBE7">
                <a:alpha val="4901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0656836" y="1376387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51027E">
                <a:alpha val="4705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9443923" y="1694548"/>
              <a:ext cx="405130" cy="356235"/>
            </a:xfrm>
            <a:custGeom>
              <a:avLst/>
              <a:gdLst/>
              <a:ahLst/>
              <a:cxnLst/>
              <a:rect l="l" t="t" r="r" b="b"/>
              <a:pathLst>
                <a:path w="405129" h="356235">
                  <a:moveTo>
                    <a:pt x="404885" y="355708"/>
                  </a:moveTo>
                  <a:lnTo>
                    <a:pt x="404757" y="309627"/>
                  </a:lnTo>
                  <a:lnTo>
                    <a:pt x="396731" y="268823"/>
                  </a:lnTo>
                  <a:lnTo>
                    <a:pt x="346233" y="240136"/>
                  </a:lnTo>
                  <a:lnTo>
                    <a:pt x="327456" y="228976"/>
                  </a:lnTo>
                  <a:lnTo>
                    <a:pt x="313947" y="217198"/>
                  </a:lnTo>
                  <a:lnTo>
                    <a:pt x="305783" y="204187"/>
                  </a:lnTo>
                  <a:lnTo>
                    <a:pt x="303045" y="189332"/>
                  </a:lnTo>
                  <a:lnTo>
                    <a:pt x="305338" y="181621"/>
                  </a:lnTo>
                  <a:lnTo>
                    <a:pt x="310383" y="177446"/>
                  </a:lnTo>
                  <a:lnTo>
                    <a:pt x="315428" y="172042"/>
                  </a:lnTo>
                  <a:lnTo>
                    <a:pt x="317722" y="160645"/>
                  </a:lnTo>
                  <a:lnTo>
                    <a:pt x="320012" y="153946"/>
                  </a:lnTo>
                  <a:lnTo>
                    <a:pt x="325051" y="151320"/>
                  </a:lnTo>
                  <a:lnTo>
                    <a:pt x="330090" y="145773"/>
                  </a:lnTo>
                  <a:lnTo>
                    <a:pt x="332381" y="130311"/>
                  </a:lnTo>
                  <a:lnTo>
                    <a:pt x="332381" y="123757"/>
                  </a:lnTo>
                  <a:lnTo>
                    <a:pt x="325051" y="123757"/>
                  </a:lnTo>
                  <a:lnTo>
                    <a:pt x="329288" y="114995"/>
                  </a:lnTo>
                  <a:lnTo>
                    <a:pt x="331464" y="109003"/>
                  </a:lnTo>
                  <a:lnTo>
                    <a:pt x="332266" y="103013"/>
                  </a:lnTo>
                  <a:lnTo>
                    <a:pt x="332381" y="94262"/>
                  </a:lnTo>
                  <a:lnTo>
                    <a:pt x="330561" y="81590"/>
                  </a:lnTo>
                  <a:lnTo>
                    <a:pt x="323317" y="67310"/>
                  </a:lnTo>
                  <a:lnTo>
                    <a:pt x="307976" y="55646"/>
                  </a:lnTo>
                  <a:lnTo>
                    <a:pt x="281864" y="50820"/>
                  </a:lnTo>
                  <a:lnTo>
                    <a:pt x="255761" y="55646"/>
                  </a:lnTo>
                  <a:lnTo>
                    <a:pt x="240426" y="67310"/>
                  </a:lnTo>
                  <a:lnTo>
                    <a:pt x="233184" y="81590"/>
                  </a:lnTo>
                  <a:lnTo>
                    <a:pt x="231365" y="94262"/>
                  </a:lnTo>
                  <a:lnTo>
                    <a:pt x="232510" y="105088"/>
                  </a:lnTo>
                  <a:lnTo>
                    <a:pt x="235030" y="114536"/>
                  </a:lnTo>
                  <a:lnTo>
                    <a:pt x="237549" y="121221"/>
                  </a:lnTo>
                  <a:lnTo>
                    <a:pt x="238695" y="123757"/>
                  </a:lnTo>
                  <a:lnTo>
                    <a:pt x="231365" y="123757"/>
                  </a:lnTo>
                  <a:lnTo>
                    <a:pt x="231365" y="130311"/>
                  </a:lnTo>
                  <a:lnTo>
                    <a:pt x="232624" y="145773"/>
                  </a:lnTo>
                  <a:lnTo>
                    <a:pt x="235946" y="151320"/>
                  </a:lnTo>
                  <a:lnTo>
                    <a:pt x="240641" y="153946"/>
                  </a:lnTo>
                  <a:lnTo>
                    <a:pt x="246024" y="160645"/>
                  </a:lnTo>
                  <a:lnTo>
                    <a:pt x="247169" y="172042"/>
                  </a:lnTo>
                  <a:lnTo>
                    <a:pt x="249688" y="177446"/>
                  </a:lnTo>
                  <a:lnTo>
                    <a:pt x="252207" y="181621"/>
                  </a:lnTo>
                  <a:lnTo>
                    <a:pt x="253353" y="189332"/>
                  </a:lnTo>
                  <a:lnTo>
                    <a:pt x="253124" y="200154"/>
                  </a:lnTo>
                  <a:lnTo>
                    <a:pt x="251520" y="210131"/>
                  </a:lnTo>
                  <a:lnTo>
                    <a:pt x="247169" y="218724"/>
                  </a:lnTo>
                  <a:lnTo>
                    <a:pt x="238695" y="225397"/>
                  </a:lnTo>
                  <a:lnTo>
                    <a:pt x="277045" y="246813"/>
                  </a:lnTo>
                  <a:lnTo>
                    <a:pt x="298675" y="261550"/>
                  </a:lnTo>
                  <a:lnTo>
                    <a:pt x="308239" y="276444"/>
                  </a:lnTo>
                  <a:lnTo>
                    <a:pt x="310393" y="298334"/>
                  </a:lnTo>
                  <a:lnTo>
                    <a:pt x="310393" y="331503"/>
                  </a:lnTo>
                  <a:lnTo>
                    <a:pt x="310393" y="348536"/>
                  </a:lnTo>
                  <a:lnTo>
                    <a:pt x="310393" y="354811"/>
                  </a:lnTo>
                  <a:lnTo>
                    <a:pt x="310393" y="355708"/>
                  </a:lnTo>
                  <a:lnTo>
                    <a:pt x="404885" y="355708"/>
                  </a:lnTo>
                  <a:close/>
                </a:path>
                <a:path w="405129" h="356235">
                  <a:moveTo>
                    <a:pt x="210184" y="247513"/>
                  </a:moveTo>
                  <a:lnTo>
                    <a:pt x="182585" y="236238"/>
                  </a:lnTo>
                  <a:lnTo>
                    <a:pt x="164763" y="223653"/>
                  </a:lnTo>
                  <a:lnTo>
                    <a:pt x="155189" y="208452"/>
                  </a:lnTo>
                  <a:lnTo>
                    <a:pt x="152338" y="189332"/>
                  </a:lnTo>
                  <a:lnTo>
                    <a:pt x="154616" y="177112"/>
                  </a:lnTo>
                  <a:lnTo>
                    <a:pt x="160180" y="169043"/>
                  </a:lnTo>
                  <a:lnTo>
                    <a:pt x="167118" y="158207"/>
                  </a:lnTo>
                  <a:lnTo>
                    <a:pt x="173520" y="137689"/>
                  </a:lnTo>
                  <a:lnTo>
                    <a:pt x="175810" y="134128"/>
                  </a:lnTo>
                  <a:lnTo>
                    <a:pt x="180849" y="131336"/>
                  </a:lnTo>
                  <a:lnTo>
                    <a:pt x="185887" y="124548"/>
                  </a:lnTo>
                  <a:lnTo>
                    <a:pt x="188178" y="109001"/>
                  </a:lnTo>
                  <a:lnTo>
                    <a:pt x="188178" y="94262"/>
                  </a:lnTo>
                  <a:lnTo>
                    <a:pt x="180849" y="94262"/>
                  </a:lnTo>
                  <a:lnTo>
                    <a:pt x="180963" y="81703"/>
                  </a:lnTo>
                  <a:lnTo>
                    <a:pt x="181765" y="73760"/>
                  </a:lnTo>
                  <a:lnTo>
                    <a:pt x="183941" y="67051"/>
                  </a:lnTo>
                  <a:lnTo>
                    <a:pt x="188178" y="58197"/>
                  </a:lnTo>
                  <a:lnTo>
                    <a:pt x="185098" y="42879"/>
                  </a:lnTo>
                  <a:lnTo>
                    <a:pt x="174536" y="23565"/>
                  </a:lnTo>
                  <a:lnTo>
                    <a:pt x="154506" y="7018"/>
                  </a:lnTo>
                  <a:lnTo>
                    <a:pt x="123021" y="0"/>
                  </a:lnTo>
                  <a:lnTo>
                    <a:pt x="88433" y="7018"/>
                  </a:lnTo>
                  <a:lnTo>
                    <a:pt x="68741" y="23565"/>
                  </a:lnTo>
                  <a:lnTo>
                    <a:pt x="59895" y="42879"/>
                  </a:lnTo>
                  <a:lnTo>
                    <a:pt x="57846" y="58197"/>
                  </a:lnTo>
                  <a:lnTo>
                    <a:pt x="57846" y="70050"/>
                  </a:lnTo>
                  <a:lnTo>
                    <a:pt x="57846" y="81757"/>
                  </a:lnTo>
                  <a:lnTo>
                    <a:pt x="57846" y="94262"/>
                  </a:lnTo>
                  <a:lnTo>
                    <a:pt x="57846" y="109001"/>
                  </a:lnTo>
                  <a:lnTo>
                    <a:pt x="59105" y="124548"/>
                  </a:lnTo>
                  <a:lnTo>
                    <a:pt x="62426" y="131336"/>
                  </a:lnTo>
                  <a:lnTo>
                    <a:pt x="67122" y="134128"/>
                  </a:lnTo>
                  <a:lnTo>
                    <a:pt x="72504" y="137689"/>
                  </a:lnTo>
                  <a:lnTo>
                    <a:pt x="74794" y="158207"/>
                  </a:lnTo>
                  <a:lnTo>
                    <a:pt x="79833" y="169043"/>
                  </a:lnTo>
                  <a:lnTo>
                    <a:pt x="84872" y="177112"/>
                  </a:lnTo>
                  <a:lnTo>
                    <a:pt x="87162" y="189332"/>
                  </a:lnTo>
                  <a:lnTo>
                    <a:pt x="59674" y="236238"/>
                  </a:lnTo>
                  <a:lnTo>
                    <a:pt x="24743" y="252807"/>
                  </a:lnTo>
                  <a:lnTo>
                    <a:pt x="12828" y="259709"/>
                  </a:lnTo>
                  <a:lnTo>
                    <a:pt x="3664" y="269529"/>
                  </a:lnTo>
                  <a:lnTo>
                    <a:pt x="0" y="283578"/>
                  </a:lnTo>
                  <a:lnTo>
                    <a:pt x="0" y="325278"/>
                  </a:lnTo>
                  <a:lnTo>
                    <a:pt x="0" y="346691"/>
                  </a:lnTo>
                  <a:lnTo>
                    <a:pt x="0" y="354581"/>
                  </a:lnTo>
                  <a:lnTo>
                    <a:pt x="0" y="355708"/>
                  </a:lnTo>
                  <a:lnTo>
                    <a:pt x="162952" y="355708"/>
                  </a:lnTo>
                  <a:lnTo>
                    <a:pt x="246631" y="355708"/>
                  </a:lnTo>
                  <a:lnTo>
                    <a:pt x="277460" y="355708"/>
                  </a:lnTo>
                  <a:lnTo>
                    <a:pt x="281864" y="355708"/>
                  </a:lnTo>
                  <a:lnTo>
                    <a:pt x="281864" y="330375"/>
                  </a:lnTo>
                  <a:lnTo>
                    <a:pt x="281864" y="315954"/>
                  </a:lnTo>
                  <a:lnTo>
                    <a:pt x="281864" y="307066"/>
                  </a:lnTo>
                  <a:lnTo>
                    <a:pt x="281864" y="298334"/>
                  </a:lnTo>
                  <a:lnTo>
                    <a:pt x="275704" y="287164"/>
                  </a:lnTo>
                  <a:lnTo>
                    <a:pt x="259464" y="275381"/>
                  </a:lnTo>
                  <a:lnTo>
                    <a:pt x="236504" y="262369"/>
                  </a:lnTo>
                  <a:lnTo>
                    <a:pt x="210184" y="247513"/>
                  </a:lnTo>
                  <a:close/>
                </a:path>
              </a:pathLst>
            </a:custGeom>
            <a:ln w="19050">
              <a:solidFill>
                <a:srgbClr val="D4F7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9124226" y="2575928"/>
            <a:ext cx="3065780" cy="1026794"/>
            <a:chOff x="9124226" y="2575928"/>
            <a:chExt cx="3065780" cy="1026794"/>
          </a:xfrm>
        </p:grpSpPr>
        <p:sp>
          <p:nvSpPr>
            <p:cNvPr id="13" name="object 13"/>
            <p:cNvSpPr/>
            <p:nvPr/>
          </p:nvSpPr>
          <p:spPr>
            <a:xfrm>
              <a:off x="9124226" y="2575928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32937" y="2575928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14" y="0"/>
                  </a:moveTo>
                  <a:lnTo>
                    <a:pt x="462072" y="2340"/>
                  </a:lnTo>
                  <a:lnTo>
                    <a:pt x="414154" y="9219"/>
                  </a:lnTo>
                  <a:lnTo>
                    <a:pt x="367775" y="20422"/>
                  </a:lnTo>
                  <a:lnTo>
                    <a:pt x="323148" y="35735"/>
                  </a:lnTo>
                  <a:lnTo>
                    <a:pt x="280488" y="54943"/>
                  </a:lnTo>
                  <a:lnTo>
                    <a:pt x="240010" y="77833"/>
                  </a:lnTo>
                  <a:lnTo>
                    <a:pt x="201927" y="104189"/>
                  </a:lnTo>
                  <a:lnTo>
                    <a:pt x="166454" y="133799"/>
                  </a:lnTo>
                  <a:lnTo>
                    <a:pt x="133805" y="166447"/>
                  </a:lnTo>
                  <a:lnTo>
                    <a:pt x="104194" y="201919"/>
                  </a:lnTo>
                  <a:lnTo>
                    <a:pt x="77836" y="240001"/>
                  </a:lnTo>
                  <a:lnTo>
                    <a:pt x="54946" y="280478"/>
                  </a:lnTo>
                  <a:lnTo>
                    <a:pt x="35737" y="323137"/>
                  </a:lnTo>
                  <a:lnTo>
                    <a:pt x="20423" y="367763"/>
                  </a:lnTo>
                  <a:lnTo>
                    <a:pt x="9220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20" y="608461"/>
                  </a:lnTo>
                  <a:lnTo>
                    <a:pt x="20423" y="654840"/>
                  </a:lnTo>
                  <a:lnTo>
                    <a:pt x="35737" y="699466"/>
                  </a:lnTo>
                  <a:lnTo>
                    <a:pt x="54946" y="742125"/>
                  </a:lnTo>
                  <a:lnTo>
                    <a:pt x="77836" y="782602"/>
                  </a:lnTo>
                  <a:lnTo>
                    <a:pt x="104194" y="820684"/>
                  </a:lnTo>
                  <a:lnTo>
                    <a:pt x="133805" y="856156"/>
                  </a:lnTo>
                  <a:lnTo>
                    <a:pt x="166454" y="888804"/>
                  </a:lnTo>
                  <a:lnTo>
                    <a:pt x="201927" y="918414"/>
                  </a:lnTo>
                  <a:lnTo>
                    <a:pt x="240010" y="944770"/>
                  </a:lnTo>
                  <a:lnTo>
                    <a:pt x="280488" y="967660"/>
                  </a:lnTo>
                  <a:lnTo>
                    <a:pt x="323148" y="986868"/>
                  </a:lnTo>
                  <a:lnTo>
                    <a:pt x="367775" y="1002181"/>
                  </a:lnTo>
                  <a:lnTo>
                    <a:pt x="414154" y="1013384"/>
                  </a:lnTo>
                  <a:lnTo>
                    <a:pt x="462072" y="1020263"/>
                  </a:lnTo>
                  <a:lnTo>
                    <a:pt x="511314" y="1022603"/>
                  </a:lnTo>
                  <a:lnTo>
                    <a:pt x="560556" y="1020263"/>
                  </a:lnTo>
                  <a:lnTo>
                    <a:pt x="608474" y="1013384"/>
                  </a:lnTo>
                  <a:lnTo>
                    <a:pt x="654852" y="1002181"/>
                  </a:lnTo>
                  <a:lnTo>
                    <a:pt x="699479" y="986868"/>
                  </a:lnTo>
                  <a:lnTo>
                    <a:pt x="742138" y="967660"/>
                  </a:lnTo>
                  <a:lnTo>
                    <a:pt x="782615" y="944770"/>
                  </a:lnTo>
                  <a:lnTo>
                    <a:pt x="820697" y="918414"/>
                  </a:lnTo>
                  <a:lnTo>
                    <a:pt x="856169" y="888804"/>
                  </a:lnTo>
                  <a:lnTo>
                    <a:pt x="888817" y="856156"/>
                  </a:lnTo>
                  <a:lnTo>
                    <a:pt x="918426" y="820684"/>
                  </a:lnTo>
                  <a:lnTo>
                    <a:pt x="944783" y="782602"/>
                  </a:lnTo>
                  <a:lnTo>
                    <a:pt x="967672" y="742125"/>
                  </a:lnTo>
                  <a:lnTo>
                    <a:pt x="986881" y="699466"/>
                  </a:lnTo>
                  <a:lnTo>
                    <a:pt x="1002194" y="654840"/>
                  </a:lnTo>
                  <a:lnTo>
                    <a:pt x="1013397" y="608461"/>
                  </a:lnTo>
                  <a:lnTo>
                    <a:pt x="1020276" y="560543"/>
                  </a:lnTo>
                  <a:lnTo>
                    <a:pt x="1022616" y="511301"/>
                  </a:lnTo>
                  <a:lnTo>
                    <a:pt x="1020276" y="462060"/>
                  </a:lnTo>
                  <a:lnTo>
                    <a:pt x="1013397" y="414142"/>
                  </a:lnTo>
                  <a:lnTo>
                    <a:pt x="1002194" y="367763"/>
                  </a:lnTo>
                  <a:lnTo>
                    <a:pt x="986881" y="323137"/>
                  </a:lnTo>
                  <a:lnTo>
                    <a:pt x="967672" y="280478"/>
                  </a:lnTo>
                  <a:lnTo>
                    <a:pt x="944783" y="240001"/>
                  </a:lnTo>
                  <a:lnTo>
                    <a:pt x="918426" y="201919"/>
                  </a:lnTo>
                  <a:lnTo>
                    <a:pt x="888817" y="166447"/>
                  </a:lnTo>
                  <a:lnTo>
                    <a:pt x="856169" y="133799"/>
                  </a:lnTo>
                  <a:lnTo>
                    <a:pt x="820697" y="104189"/>
                  </a:lnTo>
                  <a:lnTo>
                    <a:pt x="782615" y="77833"/>
                  </a:lnTo>
                  <a:lnTo>
                    <a:pt x="742138" y="54943"/>
                  </a:lnTo>
                  <a:lnTo>
                    <a:pt x="699479" y="35735"/>
                  </a:lnTo>
                  <a:lnTo>
                    <a:pt x="654852" y="20422"/>
                  </a:lnTo>
                  <a:lnTo>
                    <a:pt x="608474" y="9219"/>
                  </a:lnTo>
                  <a:lnTo>
                    <a:pt x="560556" y="2340"/>
                  </a:lnTo>
                  <a:lnTo>
                    <a:pt x="511314" y="0"/>
                  </a:lnTo>
                  <a:close/>
                </a:path>
              </a:pathLst>
            </a:custGeom>
            <a:solidFill>
              <a:srgbClr val="29D5FF">
                <a:alpha val="7097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0144239" y="2575928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14" y="0"/>
                  </a:moveTo>
                  <a:lnTo>
                    <a:pt x="462072" y="2340"/>
                  </a:lnTo>
                  <a:lnTo>
                    <a:pt x="414154" y="9219"/>
                  </a:lnTo>
                  <a:lnTo>
                    <a:pt x="367775" y="20422"/>
                  </a:lnTo>
                  <a:lnTo>
                    <a:pt x="323148" y="35735"/>
                  </a:lnTo>
                  <a:lnTo>
                    <a:pt x="280488" y="54943"/>
                  </a:lnTo>
                  <a:lnTo>
                    <a:pt x="240010" y="77833"/>
                  </a:lnTo>
                  <a:lnTo>
                    <a:pt x="201927" y="104189"/>
                  </a:lnTo>
                  <a:lnTo>
                    <a:pt x="166454" y="133799"/>
                  </a:lnTo>
                  <a:lnTo>
                    <a:pt x="133805" y="166447"/>
                  </a:lnTo>
                  <a:lnTo>
                    <a:pt x="104194" y="201919"/>
                  </a:lnTo>
                  <a:lnTo>
                    <a:pt x="77836" y="240001"/>
                  </a:lnTo>
                  <a:lnTo>
                    <a:pt x="54946" y="280478"/>
                  </a:lnTo>
                  <a:lnTo>
                    <a:pt x="35737" y="323137"/>
                  </a:lnTo>
                  <a:lnTo>
                    <a:pt x="20423" y="367763"/>
                  </a:lnTo>
                  <a:lnTo>
                    <a:pt x="9220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20" y="608461"/>
                  </a:lnTo>
                  <a:lnTo>
                    <a:pt x="20423" y="654840"/>
                  </a:lnTo>
                  <a:lnTo>
                    <a:pt x="35737" y="699466"/>
                  </a:lnTo>
                  <a:lnTo>
                    <a:pt x="54946" y="742125"/>
                  </a:lnTo>
                  <a:lnTo>
                    <a:pt x="77836" y="782602"/>
                  </a:lnTo>
                  <a:lnTo>
                    <a:pt x="104194" y="820684"/>
                  </a:lnTo>
                  <a:lnTo>
                    <a:pt x="133805" y="856156"/>
                  </a:lnTo>
                  <a:lnTo>
                    <a:pt x="166454" y="888804"/>
                  </a:lnTo>
                  <a:lnTo>
                    <a:pt x="201927" y="918414"/>
                  </a:lnTo>
                  <a:lnTo>
                    <a:pt x="240010" y="944770"/>
                  </a:lnTo>
                  <a:lnTo>
                    <a:pt x="280488" y="967660"/>
                  </a:lnTo>
                  <a:lnTo>
                    <a:pt x="323148" y="986868"/>
                  </a:lnTo>
                  <a:lnTo>
                    <a:pt x="367775" y="1002181"/>
                  </a:lnTo>
                  <a:lnTo>
                    <a:pt x="414154" y="1013384"/>
                  </a:lnTo>
                  <a:lnTo>
                    <a:pt x="462072" y="1020263"/>
                  </a:lnTo>
                  <a:lnTo>
                    <a:pt x="511314" y="1022603"/>
                  </a:lnTo>
                  <a:lnTo>
                    <a:pt x="560556" y="1020263"/>
                  </a:lnTo>
                  <a:lnTo>
                    <a:pt x="608474" y="1013384"/>
                  </a:lnTo>
                  <a:lnTo>
                    <a:pt x="654852" y="1002181"/>
                  </a:lnTo>
                  <a:lnTo>
                    <a:pt x="699479" y="986868"/>
                  </a:lnTo>
                  <a:lnTo>
                    <a:pt x="742138" y="967660"/>
                  </a:lnTo>
                  <a:lnTo>
                    <a:pt x="782615" y="944770"/>
                  </a:lnTo>
                  <a:lnTo>
                    <a:pt x="820697" y="918414"/>
                  </a:lnTo>
                  <a:lnTo>
                    <a:pt x="856169" y="888804"/>
                  </a:lnTo>
                  <a:lnTo>
                    <a:pt x="888817" y="856156"/>
                  </a:lnTo>
                  <a:lnTo>
                    <a:pt x="918426" y="820684"/>
                  </a:lnTo>
                  <a:lnTo>
                    <a:pt x="944783" y="782602"/>
                  </a:lnTo>
                  <a:lnTo>
                    <a:pt x="967672" y="742125"/>
                  </a:lnTo>
                  <a:lnTo>
                    <a:pt x="986881" y="699466"/>
                  </a:lnTo>
                  <a:lnTo>
                    <a:pt x="1002194" y="654840"/>
                  </a:lnTo>
                  <a:lnTo>
                    <a:pt x="1013397" y="608461"/>
                  </a:lnTo>
                  <a:lnTo>
                    <a:pt x="1020276" y="560543"/>
                  </a:lnTo>
                  <a:lnTo>
                    <a:pt x="1022616" y="511301"/>
                  </a:lnTo>
                  <a:lnTo>
                    <a:pt x="1020276" y="462060"/>
                  </a:lnTo>
                  <a:lnTo>
                    <a:pt x="1013397" y="414142"/>
                  </a:lnTo>
                  <a:lnTo>
                    <a:pt x="1002194" y="367763"/>
                  </a:lnTo>
                  <a:lnTo>
                    <a:pt x="986881" y="323137"/>
                  </a:lnTo>
                  <a:lnTo>
                    <a:pt x="967672" y="280478"/>
                  </a:lnTo>
                  <a:lnTo>
                    <a:pt x="944783" y="240001"/>
                  </a:lnTo>
                  <a:lnTo>
                    <a:pt x="918426" y="201919"/>
                  </a:lnTo>
                  <a:lnTo>
                    <a:pt x="888817" y="166447"/>
                  </a:lnTo>
                  <a:lnTo>
                    <a:pt x="856169" y="133799"/>
                  </a:lnTo>
                  <a:lnTo>
                    <a:pt x="820697" y="104189"/>
                  </a:lnTo>
                  <a:lnTo>
                    <a:pt x="782615" y="77833"/>
                  </a:lnTo>
                  <a:lnTo>
                    <a:pt x="742138" y="54943"/>
                  </a:lnTo>
                  <a:lnTo>
                    <a:pt x="699479" y="35735"/>
                  </a:lnTo>
                  <a:lnTo>
                    <a:pt x="654852" y="20422"/>
                  </a:lnTo>
                  <a:lnTo>
                    <a:pt x="608474" y="9219"/>
                  </a:lnTo>
                  <a:lnTo>
                    <a:pt x="560556" y="2340"/>
                  </a:lnTo>
                  <a:lnTo>
                    <a:pt x="511314" y="0"/>
                  </a:lnTo>
                  <a:close/>
                </a:path>
              </a:pathLst>
            </a:custGeom>
            <a:solidFill>
              <a:srgbClr val="76CBE7">
                <a:alpha val="4901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0655553" y="2579839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51027E">
                <a:alpha val="4705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1166855" y="2575928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3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6C03A8">
                <a:alpha val="6783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443923" y="2918001"/>
              <a:ext cx="392430" cy="360045"/>
            </a:xfrm>
            <a:custGeom>
              <a:avLst/>
              <a:gdLst/>
              <a:ahLst/>
              <a:cxnLst/>
              <a:rect l="l" t="t" r="r" b="b"/>
              <a:pathLst>
                <a:path w="392429" h="360045">
                  <a:moveTo>
                    <a:pt x="376492" y="63200"/>
                  </a:moveTo>
                  <a:lnTo>
                    <a:pt x="331806" y="78389"/>
                  </a:lnTo>
                  <a:lnTo>
                    <a:pt x="295195" y="85402"/>
                  </a:lnTo>
                  <a:lnTo>
                    <a:pt x="265523" y="85576"/>
                  </a:lnTo>
                  <a:lnTo>
                    <a:pt x="241658" y="80249"/>
                  </a:lnTo>
                  <a:lnTo>
                    <a:pt x="222465" y="70757"/>
                  </a:lnTo>
                  <a:lnTo>
                    <a:pt x="206813" y="58436"/>
                  </a:lnTo>
                  <a:lnTo>
                    <a:pt x="193566" y="44625"/>
                  </a:lnTo>
                  <a:lnTo>
                    <a:pt x="181591" y="30660"/>
                  </a:lnTo>
                  <a:lnTo>
                    <a:pt x="169755" y="17878"/>
                  </a:lnTo>
                  <a:lnTo>
                    <a:pt x="156924" y="7616"/>
                  </a:lnTo>
                  <a:lnTo>
                    <a:pt x="141965" y="1211"/>
                  </a:lnTo>
                  <a:lnTo>
                    <a:pt x="123744" y="0"/>
                  </a:lnTo>
                  <a:lnTo>
                    <a:pt x="101128" y="5319"/>
                  </a:lnTo>
                  <a:lnTo>
                    <a:pt x="72983" y="18506"/>
                  </a:lnTo>
                  <a:lnTo>
                    <a:pt x="38175" y="40897"/>
                  </a:lnTo>
                  <a:lnTo>
                    <a:pt x="16105" y="49823"/>
                  </a:lnTo>
                  <a:lnTo>
                    <a:pt x="4771" y="54406"/>
                  </a:lnTo>
                  <a:lnTo>
                    <a:pt x="596" y="56095"/>
                  </a:lnTo>
                  <a:lnTo>
                    <a:pt x="0" y="56336"/>
                  </a:lnTo>
                  <a:lnTo>
                    <a:pt x="44130" y="231833"/>
                  </a:lnTo>
                  <a:lnTo>
                    <a:pt x="66791" y="321953"/>
                  </a:lnTo>
                  <a:lnTo>
                    <a:pt x="75140" y="355155"/>
                  </a:lnTo>
                  <a:lnTo>
                    <a:pt x="76333" y="359898"/>
                  </a:lnTo>
                  <a:lnTo>
                    <a:pt x="102915" y="359898"/>
                  </a:lnTo>
                  <a:lnTo>
                    <a:pt x="116566" y="359898"/>
                  </a:lnTo>
                  <a:lnTo>
                    <a:pt x="121595" y="359898"/>
                  </a:lnTo>
                  <a:lnTo>
                    <a:pt x="122314" y="359898"/>
                  </a:lnTo>
                  <a:lnTo>
                    <a:pt x="100244" y="272156"/>
                  </a:lnTo>
                  <a:lnTo>
                    <a:pt x="88910" y="227099"/>
                  </a:lnTo>
                  <a:lnTo>
                    <a:pt x="84735" y="210499"/>
                  </a:lnTo>
                  <a:lnTo>
                    <a:pt x="84138" y="208128"/>
                  </a:lnTo>
                  <a:lnTo>
                    <a:pt x="111763" y="188133"/>
                  </a:lnTo>
                  <a:lnTo>
                    <a:pt x="135038" y="175760"/>
                  </a:lnTo>
                  <a:lnTo>
                    <a:pt x="154583" y="169783"/>
                  </a:lnTo>
                  <a:lnTo>
                    <a:pt x="171020" y="168975"/>
                  </a:lnTo>
                  <a:lnTo>
                    <a:pt x="184969" y="172111"/>
                  </a:lnTo>
                  <a:lnTo>
                    <a:pt x="197051" y="177963"/>
                  </a:lnTo>
                  <a:lnTo>
                    <a:pt x="207887" y="185306"/>
                  </a:lnTo>
                  <a:lnTo>
                    <a:pt x="218098" y="192913"/>
                  </a:lnTo>
                  <a:lnTo>
                    <a:pt x="228304" y="199558"/>
                  </a:lnTo>
                  <a:lnTo>
                    <a:pt x="239127" y="204014"/>
                  </a:lnTo>
                  <a:lnTo>
                    <a:pt x="251187" y="205055"/>
                  </a:lnTo>
                  <a:lnTo>
                    <a:pt x="265106" y="201454"/>
                  </a:lnTo>
                  <a:lnTo>
                    <a:pt x="301000" y="175424"/>
                  </a:lnTo>
                  <a:lnTo>
                    <a:pt x="351777" y="116112"/>
                  </a:lnTo>
                  <a:lnTo>
                    <a:pt x="384298" y="70909"/>
                  </a:lnTo>
                  <a:lnTo>
                    <a:pt x="392103" y="70909"/>
                  </a:lnTo>
                  <a:lnTo>
                    <a:pt x="384298" y="63200"/>
                  </a:lnTo>
                  <a:lnTo>
                    <a:pt x="376492" y="63200"/>
                  </a:lnTo>
                </a:path>
              </a:pathLst>
            </a:custGeom>
            <a:ln w="19050">
              <a:solidFill>
                <a:srgbClr val="D4F7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" name="object 19"/>
          <p:cNvGrpSpPr/>
          <p:nvPr/>
        </p:nvGrpSpPr>
        <p:grpSpPr>
          <a:xfrm>
            <a:off x="9124226" y="3787317"/>
            <a:ext cx="3068320" cy="1026794"/>
            <a:chOff x="9124226" y="3787317"/>
            <a:chExt cx="3068320" cy="1026794"/>
          </a:xfrm>
        </p:grpSpPr>
        <p:sp>
          <p:nvSpPr>
            <p:cNvPr id="20" name="object 20"/>
            <p:cNvSpPr/>
            <p:nvPr/>
          </p:nvSpPr>
          <p:spPr>
            <a:xfrm>
              <a:off x="9124226" y="3787317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4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642513" y="3787317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4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>
                <a:alpha val="7097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0153815" y="3787317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4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1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76CBE7">
                <a:alpha val="4901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0665117" y="3791229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4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20263" y="560543"/>
                  </a:lnTo>
                  <a:lnTo>
                    <a:pt x="1022603" y="511302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51027E">
                <a:alpha val="4705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1176418" y="3787317"/>
              <a:ext cx="1016000" cy="1022985"/>
            </a:xfrm>
            <a:custGeom>
              <a:avLst/>
              <a:gdLst/>
              <a:ahLst/>
              <a:cxnLst/>
              <a:rect l="l" t="t" r="r" b="b"/>
              <a:pathLst>
                <a:path w="1016000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1"/>
                  </a:lnTo>
                  <a:lnTo>
                    <a:pt x="2340" y="560543"/>
                  </a:lnTo>
                  <a:lnTo>
                    <a:pt x="9219" y="608461"/>
                  </a:lnTo>
                  <a:lnTo>
                    <a:pt x="20422" y="654840"/>
                  </a:lnTo>
                  <a:lnTo>
                    <a:pt x="35735" y="699466"/>
                  </a:lnTo>
                  <a:lnTo>
                    <a:pt x="54943" y="742125"/>
                  </a:lnTo>
                  <a:lnTo>
                    <a:pt x="77833" y="782602"/>
                  </a:lnTo>
                  <a:lnTo>
                    <a:pt x="104189" y="820684"/>
                  </a:lnTo>
                  <a:lnTo>
                    <a:pt x="133799" y="856156"/>
                  </a:lnTo>
                  <a:lnTo>
                    <a:pt x="166447" y="888804"/>
                  </a:lnTo>
                  <a:lnTo>
                    <a:pt x="201919" y="918414"/>
                  </a:lnTo>
                  <a:lnTo>
                    <a:pt x="240001" y="944770"/>
                  </a:lnTo>
                  <a:lnTo>
                    <a:pt x="280478" y="967660"/>
                  </a:lnTo>
                  <a:lnTo>
                    <a:pt x="323137" y="986868"/>
                  </a:lnTo>
                  <a:lnTo>
                    <a:pt x="367763" y="1002181"/>
                  </a:lnTo>
                  <a:lnTo>
                    <a:pt x="414142" y="1013384"/>
                  </a:lnTo>
                  <a:lnTo>
                    <a:pt x="462060" y="1020263"/>
                  </a:lnTo>
                  <a:lnTo>
                    <a:pt x="511301" y="1022604"/>
                  </a:lnTo>
                  <a:lnTo>
                    <a:pt x="560543" y="1020263"/>
                  </a:lnTo>
                  <a:lnTo>
                    <a:pt x="608461" y="1013384"/>
                  </a:lnTo>
                  <a:lnTo>
                    <a:pt x="654840" y="1002181"/>
                  </a:lnTo>
                  <a:lnTo>
                    <a:pt x="699466" y="986868"/>
                  </a:lnTo>
                  <a:lnTo>
                    <a:pt x="742125" y="967660"/>
                  </a:lnTo>
                  <a:lnTo>
                    <a:pt x="782602" y="944770"/>
                  </a:lnTo>
                  <a:lnTo>
                    <a:pt x="820684" y="918414"/>
                  </a:lnTo>
                  <a:lnTo>
                    <a:pt x="856156" y="888804"/>
                  </a:lnTo>
                  <a:lnTo>
                    <a:pt x="888804" y="856156"/>
                  </a:lnTo>
                  <a:lnTo>
                    <a:pt x="918414" y="820684"/>
                  </a:lnTo>
                  <a:lnTo>
                    <a:pt x="944770" y="782602"/>
                  </a:lnTo>
                  <a:lnTo>
                    <a:pt x="967660" y="742125"/>
                  </a:lnTo>
                  <a:lnTo>
                    <a:pt x="986868" y="699466"/>
                  </a:lnTo>
                  <a:lnTo>
                    <a:pt x="1002181" y="654840"/>
                  </a:lnTo>
                  <a:lnTo>
                    <a:pt x="1013384" y="608461"/>
                  </a:lnTo>
                  <a:lnTo>
                    <a:pt x="1015580" y="593161"/>
                  </a:lnTo>
                  <a:lnTo>
                    <a:pt x="1015580" y="4294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6C03A8">
                <a:alpha val="6783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9562311" y="4182935"/>
              <a:ext cx="147920" cy="14794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9485286" y="4105909"/>
              <a:ext cx="302260" cy="400685"/>
            </a:xfrm>
            <a:custGeom>
              <a:avLst/>
              <a:gdLst/>
              <a:ahLst/>
              <a:cxnLst/>
              <a:rect l="l" t="t" r="r" b="b"/>
              <a:pathLst>
                <a:path w="302259" h="400685">
                  <a:moveTo>
                    <a:pt x="142993" y="0"/>
                  </a:moveTo>
                  <a:lnTo>
                    <a:pt x="135630" y="628"/>
                  </a:lnTo>
                  <a:lnTo>
                    <a:pt x="128266" y="1834"/>
                  </a:lnTo>
                  <a:lnTo>
                    <a:pt x="120300" y="3065"/>
                  </a:lnTo>
                  <a:lnTo>
                    <a:pt x="113540" y="4925"/>
                  </a:lnTo>
                  <a:lnTo>
                    <a:pt x="106176" y="6760"/>
                  </a:lnTo>
                  <a:lnTo>
                    <a:pt x="92053" y="11660"/>
                  </a:lnTo>
                  <a:lnTo>
                    <a:pt x="55237" y="34378"/>
                  </a:lnTo>
                  <a:lnTo>
                    <a:pt x="25784" y="66294"/>
                  </a:lnTo>
                  <a:lnTo>
                    <a:pt x="6760" y="106177"/>
                  </a:lnTo>
                  <a:lnTo>
                    <a:pt x="4900" y="113541"/>
                  </a:lnTo>
                  <a:lnTo>
                    <a:pt x="3065" y="120301"/>
                  </a:lnTo>
                  <a:lnTo>
                    <a:pt x="1834" y="128293"/>
                  </a:lnTo>
                  <a:lnTo>
                    <a:pt x="603" y="135656"/>
                  </a:lnTo>
                  <a:lnTo>
                    <a:pt x="0" y="143019"/>
                  </a:lnTo>
                  <a:lnTo>
                    <a:pt x="0" y="150985"/>
                  </a:lnTo>
                  <a:lnTo>
                    <a:pt x="603" y="162043"/>
                  </a:lnTo>
                  <a:lnTo>
                    <a:pt x="1834" y="173076"/>
                  </a:lnTo>
                  <a:lnTo>
                    <a:pt x="3669" y="184761"/>
                  </a:lnTo>
                  <a:lnTo>
                    <a:pt x="6760" y="195794"/>
                  </a:lnTo>
                  <a:lnTo>
                    <a:pt x="9826" y="206851"/>
                  </a:lnTo>
                  <a:lnTo>
                    <a:pt x="14123" y="217884"/>
                  </a:lnTo>
                  <a:lnTo>
                    <a:pt x="18420" y="228941"/>
                  </a:lnTo>
                  <a:lnTo>
                    <a:pt x="23321" y="239999"/>
                  </a:lnTo>
                  <a:lnTo>
                    <a:pt x="47874" y="281716"/>
                  </a:lnTo>
                  <a:lnTo>
                    <a:pt x="75492" y="319789"/>
                  </a:lnTo>
                  <a:lnTo>
                    <a:pt x="103111" y="352308"/>
                  </a:lnTo>
                  <a:lnTo>
                    <a:pt x="144224" y="394050"/>
                  </a:lnTo>
                  <a:lnTo>
                    <a:pt x="150985" y="400182"/>
                  </a:lnTo>
                  <a:lnTo>
                    <a:pt x="157745" y="394050"/>
                  </a:lnTo>
                  <a:lnTo>
                    <a:pt x="185967" y="366431"/>
                  </a:lnTo>
                  <a:lnTo>
                    <a:pt x="212354" y="336953"/>
                  </a:lnTo>
                  <a:lnTo>
                    <a:pt x="240602" y="301368"/>
                  </a:lnTo>
                  <a:lnTo>
                    <a:pt x="266989" y="261460"/>
                  </a:lnTo>
                  <a:lnTo>
                    <a:pt x="287847" y="217884"/>
                  </a:lnTo>
                  <a:lnTo>
                    <a:pt x="292145" y="206851"/>
                  </a:lnTo>
                  <a:lnTo>
                    <a:pt x="295211" y="195794"/>
                  </a:lnTo>
                  <a:lnTo>
                    <a:pt x="298302" y="184761"/>
                  </a:lnTo>
                  <a:lnTo>
                    <a:pt x="300136" y="173076"/>
                  </a:lnTo>
                  <a:lnTo>
                    <a:pt x="301368" y="162043"/>
                  </a:lnTo>
                  <a:lnTo>
                    <a:pt x="301971" y="150985"/>
                  </a:lnTo>
                  <a:lnTo>
                    <a:pt x="301971" y="143019"/>
                  </a:lnTo>
                  <a:lnTo>
                    <a:pt x="301368" y="135656"/>
                  </a:lnTo>
                  <a:lnTo>
                    <a:pt x="300136" y="128293"/>
                  </a:lnTo>
                  <a:lnTo>
                    <a:pt x="298905" y="120301"/>
                  </a:lnTo>
                  <a:lnTo>
                    <a:pt x="297070" y="113541"/>
                  </a:lnTo>
                  <a:lnTo>
                    <a:pt x="295211" y="106177"/>
                  </a:lnTo>
                  <a:lnTo>
                    <a:pt x="290310" y="92079"/>
                  </a:lnTo>
                  <a:lnTo>
                    <a:pt x="267592" y="55237"/>
                  </a:lnTo>
                  <a:lnTo>
                    <a:pt x="235676" y="25784"/>
                  </a:lnTo>
                  <a:lnTo>
                    <a:pt x="195793" y="6760"/>
                  </a:lnTo>
                  <a:lnTo>
                    <a:pt x="188429" y="4925"/>
                  </a:lnTo>
                  <a:lnTo>
                    <a:pt x="181669" y="3065"/>
                  </a:lnTo>
                  <a:lnTo>
                    <a:pt x="173703" y="1834"/>
                  </a:lnTo>
                  <a:lnTo>
                    <a:pt x="166339" y="628"/>
                  </a:lnTo>
                  <a:lnTo>
                    <a:pt x="158951" y="0"/>
                  </a:lnTo>
                  <a:lnTo>
                    <a:pt x="142993" y="0"/>
                  </a:lnTo>
                  <a:close/>
                </a:path>
              </a:pathLst>
            </a:custGeom>
            <a:ln w="19050">
              <a:solidFill>
                <a:srgbClr val="D4F7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" name="object 27"/>
          <p:cNvGrpSpPr/>
          <p:nvPr/>
        </p:nvGrpSpPr>
        <p:grpSpPr>
          <a:xfrm>
            <a:off x="9124226" y="4970779"/>
            <a:ext cx="3068320" cy="1026794"/>
            <a:chOff x="9124226" y="4970779"/>
            <a:chExt cx="3068320" cy="1026794"/>
          </a:xfrm>
        </p:grpSpPr>
        <p:sp>
          <p:nvSpPr>
            <p:cNvPr id="28" name="object 28"/>
            <p:cNvSpPr/>
            <p:nvPr/>
          </p:nvSpPr>
          <p:spPr>
            <a:xfrm>
              <a:off x="9124226" y="4970779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4"/>
                  </a:lnTo>
                  <a:lnTo>
                    <a:pt x="9219" y="608462"/>
                  </a:lnTo>
                  <a:lnTo>
                    <a:pt x="20422" y="654842"/>
                  </a:lnTo>
                  <a:lnTo>
                    <a:pt x="35735" y="699468"/>
                  </a:lnTo>
                  <a:lnTo>
                    <a:pt x="54943" y="742128"/>
                  </a:lnTo>
                  <a:lnTo>
                    <a:pt x="77833" y="782606"/>
                  </a:lnTo>
                  <a:lnTo>
                    <a:pt x="104189" y="820688"/>
                  </a:lnTo>
                  <a:lnTo>
                    <a:pt x="133799" y="856160"/>
                  </a:lnTo>
                  <a:lnTo>
                    <a:pt x="166447" y="888808"/>
                  </a:lnTo>
                  <a:lnTo>
                    <a:pt x="201919" y="918418"/>
                  </a:lnTo>
                  <a:lnTo>
                    <a:pt x="240001" y="944775"/>
                  </a:lnTo>
                  <a:lnTo>
                    <a:pt x="280478" y="967664"/>
                  </a:lnTo>
                  <a:lnTo>
                    <a:pt x="323137" y="986873"/>
                  </a:lnTo>
                  <a:lnTo>
                    <a:pt x="367763" y="1002186"/>
                  </a:lnTo>
                  <a:lnTo>
                    <a:pt x="414142" y="1013389"/>
                  </a:lnTo>
                  <a:lnTo>
                    <a:pt x="462060" y="1020268"/>
                  </a:lnTo>
                  <a:lnTo>
                    <a:pt x="511301" y="1022609"/>
                  </a:lnTo>
                  <a:lnTo>
                    <a:pt x="560543" y="1020268"/>
                  </a:lnTo>
                  <a:lnTo>
                    <a:pt x="608461" y="1013389"/>
                  </a:lnTo>
                  <a:lnTo>
                    <a:pt x="654840" y="1002186"/>
                  </a:lnTo>
                  <a:lnTo>
                    <a:pt x="699466" y="986873"/>
                  </a:lnTo>
                  <a:lnTo>
                    <a:pt x="742125" y="967664"/>
                  </a:lnTo>
                  <a:lnTo>
                    <a:pt x="782602" y="944775"/>
                  </a:lnTo>
                  <a:lnTo>
                    <a:pt x="820684" y="918418"/>
                  </a:lnTo>
                  <a:lnTo>
                    <a:pt x="856156" y="888808"/>
                  </a:lnTo>
                  <a:lnTo>
                    <a:pt x="888804" y="856160"/>
                  </a:lnTo>
                  <a:lnTo>
                    <a:pt x="918414" y="820688"/>
                  </a:lnTo>
                  <a:lnTo>
                    <a:pt x="944770" y="782606"/>
                  </a:lnTo>
                  <a:lnTo>
                    <a:pt x="967660" y="742128"/>
                  </a:lnTo>
                  <a:lnTo>
                    <a:pt x="986868" y="699468"/>
                  </a:lnTo>
                  <a:lnTo>
                    <a:pt x="1002181" y="654842"/>
                  </a:lnTo>
                  <a:lnTo>
                    <a:pt x="1013384" y="608462"/>
                  </a:lnTo>
                  <a:lnTo>
                    <a:pt x="1020263" y="560544"/>
                  </a:lnTo>
                  <a:lnTo>
                    <a:pt x="1022603" y="511302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9642513" y="4970779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4"/>
                  </a:lnTo>
                  <a:lnTo>
                    <a:pt x="9219" y="608462"/>
                  </a:lnTo>
                  <a:lnTo>
                    <a:pt x="20422" y="654842"/>
                  </a:lnTo>
                  <a:lnTo>
                    <a:pt x="35735" y="699468"/>
                  </a:lnTo>
                  <a:lnTo>
                    <a:pt x="54943" y="742128"/>
                  </a:lnTo>
                  <a:lnTo>
                    <a:pt x="77833" y="782606"/>
                  </a:lnTo>
                  <a:lnTo>
                    <a:pt x="104189" y="820688"/>
                  </a:lnTo>
                  <a:lnTo>
                    <a:pt x="133799" y="856160"/>
                  </a:lnTo>
                  <a:lnTo>
                    <a:pt x="166447" y="888808"/>
                  </a:lnTo>
                  <a:lnTo>
                    <a:pt x="201919" y="918418"/>
                  </a:lnTo>
                  <a:lnTo>
                    <a:pt x="240001" y="944775"/>
                  </a:lnTo>
                  <a:lnTo>
                    <a:pt x="280478" y="967664"/>
                  </a:lnTo>
                  <a:lnTo>
                    <a:pt x="323137" y="986873"/>
                  </a:lnTo>
                  <a:lnTo>
                    <a:pt x="367763" y="1002186"/>
                  </a:lnTo>
                  <a:lnTo>
                    <a:pt x="414142" y="1013389"/>
                  </a:lnTo>
                  <a:lnTo>
                    <a:pt x="462060" y="1020268"/>
                  </a:lnTo>
                  <a:lnTo>
                    <a:pt x="511301" y="1022609"/>
                  </a:lnTo>
                  <a:lnTo>
                    <a:pt x="560543" y="1020268"/>
                  </a:lnTo>
                  <a:lnTo>
                    <a:pt x="608461" y="1013389"/>
                  </a:lnTo>
                  <a:lnTo>
                    <a:pt x="654840" y="1002186"/>
                  </a:lnTo>
                  <a:lnTo>
                    <a:pt x="699466" y="986873"/>
                  </a:lnTo>
                  <a:lnTo>
                    <a:pt x="742125" y="967664"/>
                  </a:lnTo>
                  <a:lnTo>
                    <a:pt x="782602" y="944775"/>
                  </a:lnTo>
                  <a:lnTo>
                    <a:pt x="820684" y="918418"/>
                  </a:lnTo>
                  <a:lnTo>
                    <a:pt x="856156" y="888808"/>
                  </a:lnTo>
                  <a:lnTo>
                    <a:pt x="888804" y="856160"/>
                  </a:lnTo>
                  <a:lnTo>
                    <a:pt x="918414" y="820688"/>
                  </a:lnTo>
                  <a:lnTo>
                    <a:pt x="944770" y="782606"/>
                  </a:lnTo>
                  <a:lnTo>
                    <a:pt x="967660" y="742128"/>
                  </a:lnTo>
                  <a:lnTo>
                    <a:pt x="986868" y="699468"/>
                  </a:lnTo>
                  <a:lnTo>
                    <a:pt x="1002181" y="654842"/>
                  </a:lnTo>
                  <a:lnTo>
                    <a:pt x="1013384" y="608462"/>
                  </a:lnTo>
                  <a:lnTo>
                    <a:pt x="1020263" y="560544"/>
                  </a:lnTo>
                  <a:lnTo>
                    <a:pt x="1022603" y="511302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29D5FF">
                <a:alpha val="7097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0153815" y="4970779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4"/>
                  </a:lnTo>
                  <a:lnTo>
                    <a:pt x="9219" y="608462"/>
                  </a:lnTo>
                  <a:lnTo>
                    <a:pt x="20422" y="654842"/>
                  </a:lnTo>
                  <a:lnTo>
                    <a:pt x="35735" y="699468"/>
                  </a:lnTo>
                  <a:lnTo>
                    <a:pt x="54943" y="742128"/>
                  </a:lnTo>
                  <a:lnTo>
                    <a:pt x="77833" y="782606"/>
                  </a:lnTo>
                  <a:lnTo>
                    <a:pt x="104189" y="820688"/>
                  </a:lnTo>
                  <a:lnTo>
                    <a:pt x="133799" y="856160"/>
                  </a:lnTo>
                  <a:lnTo>
                    <a:pt x="166447" y="888808"/>
                  </a:lnTo>
                  <a:lnTo>
                    <a:pt x="201919" y="918418"/>
                  </a:lnTo>
                  <a:lnTo>
                    <a:pt x="240001" y="944775"/>
                  </a:lnTo>
                  <a:lnTo>
                    <a:pt x="280478" y="967664"/>
                  </a:lnTo>
                  <a:lnTo>
                    <a:pt x="323137" y="986873"/>
                  </a:lnTo>
                  <a:lnTo>
                    <a:pt x="367763" y="1002186"/>
                  </a:lnTo>
                  <a:lnTo>
                    <a:pt x="414142" y="1013389"/>
                  </a:lnTo>
                  <a:lnTo>
                    <a:pt x="462060" y="1020268"/>
                  </a:lnTo>
                  <a:lnTo>
                    <a:pt x="511301" y="1022609"/>
                  </a:lnTo>
                  <a:lnTo>
                    <a:pt x="560543" y="1020268"/>
                  </a:lnTo>
                  <a:lnTo>
                    <a:pt x="608461" y="1013389"/>
                  </a:lnTo>
                  <a:lnTo>
                    <a:pt x="654840" y="1002186"/>
                  </a:lnTo>
                  <a:lnTo>
                    <a:pt x="699466" y="986873"/>
                  </a:lnTo>
                  <a:lnTo>
                    <a:pt x="742125" y="967664"/>
                  </a:lnTo>
                  <a:lnTo>
                    <a:pt x="782602" y="944775"/>
                  </a:lnTo>
                  <a:lnTo>
                    <a:pt x="820684" y="918418"/>
                  </a:lnTo>
                  <a:lnTo>
                    <a:pt x="856156" y="888808"/>
                  </a:lnTo>
                  <a:lnTo>
                    <a:pt x="888804" y="856160"/>
                  </a:lnTo>
                  <a:lnTo>
                    <a:pt x="918414" y="820688"/>
                  </a:lnTo>
                  <a:lnTo>
                    <a:pt x="944770" y="782606"/>
                  </a:lnTo>
                  <a:lnTo>
                    <a:pt x="967660" y="742128"/>
                  </a:lnTo>
                  <a:lnTo>
                    <a:pt x="986868" y="699468"/>
                  </a:lnTo>
                  <a:lnTo>
                    <a:pt x="1002181" y="654842"/>
                  </a:lnTo>
                  <a:lnTo>
                    <a:pt x="1013384" y="608462"/>
                  </a:lnTo>
                  <a:lnTo>
                    <a:pt x="1020263" y="560544"/>
                  </a:lnTo>
                  <a:lnTo>
                    <a:pt x="1022603" y="511302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76CBE7">
                <a:alpha val="4901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0665117" y="4974691"/>
              <a:ext cx="1022985" cy="1022985"/>
            </a:xfrm>
            <a:custGeom>
              <a:avLst/>
              <a:gdLst/>
              <a:ahLst/>
              <a:cxnLst/>
              <a:rect l="l" t="t" r="r" b="b"/>
              <a:pathLst>
                <a:path w="1022984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4"/>
                  </a:lnTo>
                  <a:lnTo>
                    <a:pt x="9219" y="608462"/>
                  </a:lnTo>
                  <a:lnTo>
                    <a:pt x="20422" y="654842"/>
                  </a:lnTo>
                  <a:lnTo>
                    <a:pt x="35735" y="699469"/>
                  </a:lnTo>
                  <a:lnTo>
                    <a:pt x="54943" y="742128"/>
                  </a:lnTo>
                  <a:lnTo>
                    <a:pt x="77833" y="782606"/>
                  </a:lnTo>
                  <a:lnTo>
                    <a:pt x="104189" y="820689"/>
                  </a:lnTo>
                  <a:lnTo>
                    <a:pt x="133799" y="856161"/>
                  </a:lnTo>
                  <a:lnTo>
                    <a:pt x="166447" y="888809"/>
                  </a:lnTo>
                  <a:lnTo>
                    <a:pt x="201919" y="918419"/>
                  </a:lnTo>
                  <a:lnTo>
                    <a:pt x="240001" y="944776"/>
                  </a:lnTo>
                  <a:lnTo>
                    <a:pt x="280478" y="967666"/>
                  </a:lnTo>
                  <a:lnTo>
                    <a:pt x="323137" y="986874"/>
                  </a:lnTo>
                  <a:lnTo>
                    <a:pt x="367763" y="1002187"/>
                  </a:lnTo>
                  <a:lnTo>
                    <a:pt x="414142" y="1013390"/>
                  </a:lnTo>
                  <a:lnTo>
                    <a:pt x="462060" y="1020269"/>
                  </a:lnTo>
                  <a:lnTo>
                    <a:pt x="511301" y="1022610"/>
                  </a:lnTo>
                  <a:lnTo>
                    <a:pt x="560543" y="1020269"/>
                  </a:lnTo>
                  <a:lnTo>
                    <a:pt x="608461" y="1013390"/>
                  </a:lnTo>
                  <a:lnTo>
                    <a:pt x="654840" y="1002187"/>
                  </a:lnTo>
                  <a:lnTo>
                    <a:pt x="699466" y="986874"/>
                  </a:lnTo>
                  <a:lnTo>
                    <a:pt x="742125" y="967666"/>
                  </a:lnTo>
                  <a:lnTo>
                    <a:pt x="782602" y="944776"/>
                  </a:lnTo>
                  <a:lnTo>
                    <a:pt x="820684" y="918419"/>
                  </a:lnTo>
                  <a:lnTo>
                    <a:pt x="856156" y="888809"/>
                  </a:lnTo>
                  <a:lnTo>
                    <a:pt x="888804" y="856161"/>
                  </a:lnTo>
                  <a:lnTo>
                    <a:pt x="918414" y="820689"/>
                  </a:lnTo>
                  <a:lnTo>
                    <a:pt x="944770" y="782606"/>
                  </a:lnTo>
                  <a:lnTo>
                    <a:pt x="967660" y="742128"/>
                  </a:lnTo>
                  <a:lnTo>
                    <a:pt x="986868" y="699469"/>
                  </a:lnTo>
                  <a:lnTo>
                    <a:pt x="1002181" y="654842"/>
                  </a:lnTo>
                  <a:lnTo>
                    <a:pt x="1013384" y="608462"/>
                  </a:lnTo>
                  <a:lnTo>
                    <a:pt x="1020263" y="560544"/>
                  </a:lnTo>
                  <a:lnTo>
                    <a:pt x="1022603" y="511302"/>
                  </a:lnTo>
                  <a:lnTo>
                    <a:pt x="1020263" y="462060"/>
                  </a:lnTo>
                  <a:lnTo>
                    <a:pt x="1013384" y="4141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51027E">
                <a:alpha val="4705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1176418" y="4970779"/>
              <a:ext cx="1016000" cy="1022985"/>
            </a:xfrm>
            <a:custGeom>
              <a:avLst/>
              <a:gdLst/>
              <a:ahLst/>
              <a:cxnLst/>
              <a:rect l="l" t="t" r="r" b="b"/>
              <a:pathLst>
                <a:path w="1016000" h="1022985">
                  <a:moveTo>
                    <a:pt x="511301" y="0"/>
                  </a:moveTo>
                  <a:lnTo>
                    <a:pt x="462060" y="2340"/>
                  </a:lnTo>
                  <a:lnTo>
                    <a:pt x="414142" y="9219"/>
                  </a:lnTo>
                  <a:lnTo>
                    <a:pt x="367763" y="20422"/>
                  </a:lnTo>
                  <a:lnTo>
                    <a:pt x="323137" y="35735"/>
                  </a:lnTo>
                  <a:lnTo>
                    <a:pt x="280478" y="54943"/>
                  </a:lnTo>
                  <a:lnTo>
                    <a:pt x="240001" y="77833"/>
                  </a:lnTo>
                  <a:lnTo>
                    <a:pt x="201919" y="104189"/>
                  </a:lnTo>
                  <a:lnTo>
                    <a:pt x="166447" y="133799"/>
                  </a:lnTo>
                  <a:lnTo>
                    <a:pt x="133799" y="166447"/>
                  </a:lnTo>
                  <a:lnTo>
                    <a:pt x="104189" y="201919"/>
                  </a:lnTo>
                  <a:lnTo>
                    <a:pt x="77833" y="240001"/>
                  </a:lnTo>
                  <a:lnTo>
                    <a:pt x="54943" y="280478"/>
                  </a:lnTo>
                  <a:lnTo>
                    <a:pt x="35735" y="323137"/>
                  </a:lnTo>
                  <a:lnTo>
                    <a:pt x="20422" y="367763"/>
                  </a:lnTo>
                  <a:lnTo>
                    <a:pt x="9219" y="414142"/>
                  </a:lnTo>
                  <a:lnTo>
                    <a:pt x="2340" y="462060"/>
                  </a:lnTo>
                  <a:lnTo>
                    <a:pt x="0" y="511302"/>
                  </a:lnTo>
                  <a:lnTo>
                    <a:pt x="2340" y="560544"/>
                  </a:lnTo>
                  <a:lnTo>
                    <a:pt x="9219" y="608462"/>
                  </a:lnTo>
                  <a:lnTo>
                    <a:pt x="20422" y="654842"/>
                  </a:lnTo>
                  <a:lnTo>
                    <a:pt x="35735" y="699468"/>
                  </a:lnTo>
                  <a:lnTo>
                    <a:pt x="54943" y="742128"/>
                  </a:lnTo>
                  <a:lnTo>
                    <a:pt x="77833" y="782606"/>
                  </a:lnTo>
                  <a:lnTo>
                    <a:pt x="104189" y="820688"/>
                  </a:lnTo>
                  <a:lnTo>
                    <a:pt x="133799" y="856160"/>
                  </a:lnTo>
                  <a:lnTo>
                    <a:pt x="166447" y="888808"/>
                  </a:lnTo>
                  <a:lnTo>
                    <a:pt x="201919" y="918418"/>
                  </a:lnTo>
                  <a:lnTo>
                    <a:pt x="240001" y="944775"/>
                  </a:lnTo>
                  <a:lnTo>
                    <a:pt x="280478" y="967664"/>
                  </a:lnTo>
                  <a:lnTo>
                    <a:pt x="323137" y="986873"/>
                  </a:lnTo>
                  <a:lnTo>
                    <a:pt x="367763" y="1002186"/>
                  </a:lnTo>
                  <a:lnTo>
                    <a:pt x="414142" y="1013389"/>
                  </a:lnTo>
                  <a:lnTo>
                    <a:pt x="462060" y="1020268"/>
                  </a:lnTo>
                  <a:lnTo>
                    <a:pt x="511301" y="1022609"/>
                  </a:lnTo>
                  <a:lnTo>
                    <a:pt x="560543" y="1020268"/>
                  </a:lnTo>
                  <a:lnTo>
                    <a:pt x="608461" y="1013389"/>
                  </a:lnTo>
                  <a:lnTo>
                    <a:pt x="654840" y="1002186"/>
                  </a:lnTo>
                  <a:lnTo>
                    <a:pt x="699466" y="986873"/>
                  </a:lnTo>
                  <a:lnTo>
                    <a:pt x="742125" y="967664"/>
                  </a:lnTo>
                  <a:lnTo>
                    <a:pt x="782602" y="944775"/>
                  </a:lnTo>
                  <a:lnTo>
                    <a:pt x="820684" y="918418"/>
                  </a:lnTo>
                  <a:lnTo>
                    <a:pt x="856156" y="888808"/>
                  </a:lnTo>
                  <a:lnTo>
                    <a:pt x="888804" y="856160"/>
                  </a:lnTo>
                  <a:lnTo>
                    <a:pt x="918414" y="820688"/>
                  </a:lnTo>
                  <a:lnTo>
                    <a:pt x="944770" y="782606"/>
                  </a:lnTo>
                  <a:lnTo>
                    <a:pt x="967660" y="742128"/>
                  </a:lnTo>
                  <a:lnTo>
                    <a:pt x="986868" y="699468"/>
                  </a:lnTo>
                  <a:lnTo>
                    <a:pt x="1002181" y="654842"/>
                  </a:lnTo>
                  <a:lnTo>
                    <a:pt x="1013384" y="608462"/>
                  </a:lnTo>
                  <a:lnTo>
                    <a:pt x="1015580" y="593162"/>
                  </a:lnTo>
                  <a:lnTo>
                    <a:pt x="1015580" y="429442"/>
                  </a:lnTo>
                  <a:lnTo>
                    <a:pt x="1002181" y="367763"/>
                  </a:lnTo>
                  <a:lnTo>
                    <a:pt x="986868" y="323137"/>
                  </a:lnTo>
                  <a:lnTo>
                    <a:pt x="967660" y="280478"/>
                  </a:lnTo>
                  <a:lnTo>
                    <a:pt x="944770" y="240001"/>
                  </a:lnTo>
                  <a:lnTo>
                    <a:pt x="918414" y="201919"/>
                  </a:lnTo>
                  <a:lnTo>
                    <a:pt x="888804" y="166447"/>
                  </a:lnTo>
                  <a:lnTo>
                    <a:pt x="856156" y="133799"/>
                  </a:lnTo>
                  <a:lnTo>
                    <a:pt x="820684" y="104189"/>
                  </a:lnTo>
                  <a:lnTo>
                    <a:pt x="782602" y="77833"/>
                  </a:lnTo>
                  <a:lnTo>
                    <a:pt x="742125" y="54943"/>
                  </a:lnTo>
                  <a:lnTo>
                    <a:pt x="699466" y="35735"/>
                  </a:lnTo>
                  <a:lnTo>
                    <a:pt x="654840" y="20422"/>
                  </a:lnTo>
                  <a:lnTo>
                    <a:pt x="608461" y="9219"/>
                  </a:lnTo>
                  <a:lnTo>
                    <a:pt x="560543" y="2340"/>
                  </a:lnTo>
                  <a:lnTo>
                    <a:pt x="511301" y="0"/>
                  </a:lnTo>
                  <a:close/>
                </a:path>
              </a:pathLst>
            </a:custGeom>
            <a:solidFill>
              <a:srgbClr val="6C03A8">
                <a:alpha val="6783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9363455" y="5245607"/>
              <a:ext cx="472440" cy="46939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7898345" y="2541523"/>
            <a:ext cx="1166495" cy="3232150"/>
          </a:xfrm>
          <a:prstGeom prst="rect">
            <a:avLst/>
          </a:prstGeom>
        </p:spPr>
        <p:txBody>
          <a:bodyPr vert="horz" wrap="square" lIns="0" tIns="1162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15"/>
              </a:spcBef>
            </a:pPr>
            <a:r>
              <a:rPr sz="2400" spc="-50">
                <a:solidFill>
                  <a:srgbClr val="29D5FF"/>
                </a:solidFill>
                <a:latin typeface="Trebuchet MS"/>
                <a:cs typeface="Trebuchet MS"/>
              </a:rPr>
              <a:t>50</a:t>
            </a:r>
            <a:endParaRPr sz="2400">
              <a:latin typeface="Trebuchet MS"/>
              <a:cs typeface="Trebuchet MS"/>
            </a:endParaRPr>
          </a:p>
          <a:p>
            <a:pPr marL="12700" marR="5080">
              <a:lnSpc>
                <a:spcPts val="1420"/>
              </a:lnSpc>
              <a:spcBef>
                <a:spcPts val="470"/>
              </a:spcBef>
            </a:pPr>
            <a:r>
              <a:rPr sz="1200" spc="-55">
                <a:solidFill>
                  <a:srgbClr val="FFFFFF"/>
                </a:solidFill>
                <a:latin typeface="Trebuchet MS"/>
                <a:cs typeface="Trebuchet MS"/>
              </a:rPr>
              <a:t>countries </a:t>
            </a:r>
            <a:r>
              <a:rPr sz="1200" spc="-60">
                <a:solidFill>
                  <a:srgbClr val="FFFFFF"/>
                </a:solidFill>
                <a:latin typeface="Trebuchet MS"/>
                <a:cs typeface="Trebuchet MS"/>
              </a:rPr>
              <a:t>were</a:t>
            </a:r>
            <a:r>
              <a:rPr sz="1200" spc="-16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FFFFFF"/>
                </a:solidFill>
                <a:latin typeface="Trebuchet MS"/>
                <a:cs typeface="Trebuchet MS"/>
              </a:rPr>
              <a:t>we  </a:t>
            </a:r>
            <a:r>
              <a:rPr sz="1200" spc="-50">
                <a:solidFill>
                  <a:srgbClr val="FFFFFF"/>
                </a:solidFill>
                <a:latin typeface="Trebuchet MS"/>
                <a:cs typeface="Trebuchet MS"/>
              </a:rPr>
              <a:t>consult</a:t>
            </a:r>
            <a:r>
              <a:rPr sz="1200" spc="-10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65">
                <a:solidFill>
                  <a:srgbClr val="FFFFFF"/>
                </a:solidFill>
                <a:latin typeface="Trebuchet MS"/>
                <a:cs typeface="Trebuchet MS"/>
              </a:rPr>
              <a:t>clients</a:t>
            </a:r>
            <a:endParaRPr sz="12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6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2400" spc="-50">
                <a:solidFill>
                  <a:srgbClr val="29D5FF"/>
                </a:solidFill>
                <a:latin typeface="Trebuchet MS"/>
                <a:cs typeface="Trebuchet MS"/>
              </a:rPr>
              <a:t>41</a:t>
            </a:r>
            <a:endParaRPr sz="2400">
              <a:latin typeface="Trebuchet MS"/>
              <a:cs typeface="Trebuchet MS"/>
            </a:endParaRPr>
          </a:p>
          <a:p>
            <a:pPr marL="12700" marR="377825">
              <a:lnSpc>
                <a:spcPts val="1390"/>
              </a:lnSpc>
              <a:spcBef>
                <a:spcPts val="520"/>
              </a:spcBef>
            </a:pPr>
            <a:r>
              <a:rPr sz="1200" spc="-60">
                <a:solidFill>
                  <a:srgbClr val="FFFFFF"/>
                </a:solidFill>
                <a:latin typeface="Trebuchet MS"/>
                <a:cs typeface="Trebuchet MS"/>
              </a:rPr>
              <a:t>Offices </a:t>
            </a:r>
            <a:r>
              <a:rPr sz="1200" spc="-50">
                <a:solidFill>
                  <a:srgbClr val="FFFFFF"/>
                </a:solidFill>
                <a:latin typeface="Trebuchet MS"/>
                <a:cs typeface="Trebuchet MS"/>
              </a:rPr>
              <a:t>in</a:t>
            </a:r>
            <a:r>
              <a:rPr sz="1200" spc="-20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25">
                <a:solidFill>
                  <a:srgbClr val="FFFFFF"/>
                </a:solidFill>
                <a:latin typeface="Trebuchet MS"/>
                <a:cs typeface="Trebuchet MS"/>
              </a:rPr>
              <a:t>23  </a:t>
            </a:r>
            <a:r>
              <a:rPr sz="1200" spc="-55">
                <a:solidFill>
                  <a:srgbClr val="FFFFFF"/>
                </a:solidFill>
                <a:latin typeface="Trebuchet MS"/>
                <a:cs typeface="Trebuchet MS"/>
              </a:rPr>
              <a:t>countries</a:t>
            </a:r>
            <a:endParaRPr sz="12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1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8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2400" spc="-55">
                <a:solidFill>
                  <a:srgbClr val="29D5FF"/>
                </a:solidFill>
                <a:latin typeface="Trebuchet MS"/>
                <a:cs typeface="Trebuchet MS"/>
              </a:rPr>
              <a:t>€738m</a:t>
            </a:r>
            <a:endParaRPr sz="24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sz="1200" spc="-35">
                <a:solidFill>
                  <a:srgbClr val="FFFFFF"/>
                </a:solidFill>
                <a:latin typeface="Trebuchet MS"/>
                <a:cs typeface="Trebuchet MS"/>
              </a:rPr>
              <a:t>In</a:t>
            </a:r>
            <a:r>
              <a:rPr sz="1200" spc="-10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200" spc="-60">
                <a:solidFill>
                  <a:srgbClr val="FFFFFF"/>
                </a:solidFill>
                <a:latin typeface="Trebuchet MS"/>
                <a:cs typeface="Trebuchet MS"/>
              </a:rPr>
              <a:t>revenue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35" name="object 35"/>
          <p:cNvGrpSpPr/>
          <p:nvPr/>
        </p:nvGrpSpPr>
        <p:grpSpPr>
          <a:xfrm>
            <a:off x="149352" y="2584704"/>
            <a:ext cx="7096125" cy="3520440"/>
            <a:chOff x="149352" y="2584704"/>
            <a:chExt cx="7096125" cy="3520440"/>
          </a:xfrm>
        </p:grpSpPr>
        <p:sp>
          <p:nvSpPr>
            <p:cNvPr id="36" name="object 36"/>
            <p:cNvSpPr/>
            <p:nvPr/>
          </p:nvSpPr>
          <p:spPr>
            <a:xfrm>
              <a:off x="149352" y="2584704"/>
              <a:ext cx="7095744" cy="352044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3078479" y="3361944"/>
              <a:ext cx="201168" cy="26517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3447287" y="3124200"/>
              <a:ext cx="201167" cy="26822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5943599" y="3675888"/>
              <a:ext cx="204215" cy="26517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158240" y="3541776"/>
              <a:ext cx="204215" cy="26822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3209544" y="2883408"/>
              <a:ext cx="201168" cy="26822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3108959" y="3584448"/>
              <a:ext cx="201167" cy="268224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5654040" y="4340352"/>
              <a:ext cx="201167" cy="265175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4517136" y="3742944"/>
              <a:ext cx="201167" cy="26822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3349752" y="2974848"/>
              <a:ext cx="201167" cy="265175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3846575" y="3255264"/>
              <a:ext cx="201167" cy="268224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4044696" y="2993136"/>
              <a:ext cx="201167" cy="265175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3276600" y="3124200"/>
              <a:ext cx="201167" cy="268224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3108959" y="2993136"/>
              <a:ext cx="201167" cy="265175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3569207" y="3148584"/>
              <a:ext cx="201167" cy="265175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3504679" y="3282937"/>
              <a:ext cx="87845" cy="87833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4422648" y="3782568"/>
              <a:ext cx="204215" cy="268224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4479112" y="3840276"/>
              <a:ext cx="87833" cy="87833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3602736" y="2880360"/>
              <a:ext cx="201167" cy="268224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3471672" y="2849880"/>
              <a:ext cx="201167" cy="268224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3739896" y="2798064"/>
              <a:ext cx="201167" cy="265175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3532631" y="3054096"/>
              <a:ext cx="201167" cy="265175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3416807" y="3264408"/>
              <a:ext cx="201167" cy="265175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316224" y="3215640"/>
              <a:ext cx="173736" cy="265175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0" name="object 60"/>
          <p:cNvSpPr txBox="1">
            <a:spLocks noGrp="1"/>
          </p:cNvSpPr>
          <p:nvPr>
            <p:ph type="title"/>
          </p:nvPr>
        </p:nvSpPr>
        <p:spPr>
          <a:xfrm>
            <a:off x="751009" y="1069340"/>
            <a:ext cx="479806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3600" spc="-155">
                <a:solidFill>
                  <a:srgbClr val="FFFFFF"/>
                </a:solidFill>
              </a:rPr>
              <a:t>We </a:t>
            </a:r>
            <a:r>
              <a:rPr sz="3600" spc="-225">
                <a:solidFill>
                  <a:srgbClr val="FFFFFF"/>
                </a:solidFill>
              </a:rPr>
              <a:t>have </a:t>
            </a:r>
            <a:r>
              <a:rPr sz="3600" spc="-210">
                <a:solidFill>
                  <a:srgbClr val="FFFFFF"/>
                </a:solidFill>
              </a:rPr>
              <a:t>European</a:t>
            </a:r>
            <a:r>
              <a:rPr sz="3600" spc="-495">
                <a:solidFill>
                  <a:srgbClr val="FFFFFF"/>
                </a:solidFill>
              </a:rPr>
              <a:t> </a:t>
            </a:r>
            <a:r>
              <a:rPr sz="3600" spc="-200">
                <a:solidFill>
                  <a:srgbClr val="FFFFFF"/>
                </a:solidFill>
              </a:rPr>
              <a:t>roots,  </a:t>
            </a:r>
            <a:r>
              <a:rPr sz="3600" spc="-180">
                <a:solidFill>
                  <a:srgbClr val="FFFFFF"/>
                </a:solidFill>
              </a:rPr>
              <a:t>with </a:t>
            </a:r>
            <a:r>
              <a:rPr sz="3600" spc="-145">
                <a:solidFill>
                  <a:srgbClr val="FFFFFF"/>
                </a:solidFill>
              </a:rPr>
              <a:t>global</a:t>
            </a:r>
            <a:r>
              <a:rPr sz="3600" spc="-365">
                <a:solidFill>
                  <a:srgbClr val="FFFFFF"/>
                </a:solidFill>
              </a:rPr>
              <a:t> </a:t>
            </a:r>
            <a:r>
              <a:rPr sz="3600" spc="-250">
                <a:solidFill>
                  <a:srgbClr val="FFFFFF"/>
                </a:solidFill>
              </a:rPr>
              <a:t>reach</a:t>
            </a:r>
            <a:endParaRPr sz="360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" y="2100072"/>
            <a:ext cx="12192000" cy="1800225"/>
          </a:xfrm>
          <a:custGeom>
            <a:avLst/>
            <a:gdLst/>
            <a:ahLst/>
            <a:cxnLst/>
            <a:rect l="l" t="t" r="r" b="b"/>
            <a:pathLst>
              <a:path w="12192000" h="1800225">
                <a:moveTo>
                  <a:pt x="12192001" y="0"/>
                </a:moveTo>
                <a:lnTo>
                  <a:pt x="0" y="0"/>
                </a:lnTo>
                <a:lnTo>
                  <a:pt x="0" y="1799996"/>
                </a:lnTo>
                <a:lnTo>
                  <a:pt x="12192001" y="1799996"/>
                </a:lnTo>
                <a:lnTo>
                  <a:pt x="12192001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99489" y="633298"/>
            <a:ext cx="11250537" cy="9849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37584" y="2536443"/>
            <a:ext cx="1497330" cy="8820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363855">
              <a:lnSpc>
                <a:spcPct val="100699"/>
              </a:lnSpc>
              <a:spcBef>
                <a:spcPts val="75"/>
              </a:spcBef>
            </a:pPr>
            <a:r>
              <a:rPr sz="280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spc="-30">
                <a:solidFill>
                  <a:srgbClr val="29D5FF"/>
                </a:solidFill>
                <a:latin typeface="Trebuchet MS"/>
                <a:cs typeface="Trebuchet MS"/>
              </a:rPr>
              <a:t>AD</a:t>
            </a:r>
            <a:r>
              <a:rPr sz="2800" spc="-95">
                <a:solidFill>
                  <a:srgbClr val="29D5FF"/>
                </a:solidFill>
                <a:latin typeface="Trebuchet MS"/>
                <a:cs typeface="Trebuchet MS"/>
              </a:rPr>
              <a:t>V</a:t>
            </a:r>
            <a:r>
              <a:rPr sz="2800" spc="-55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spc="-65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r>
              <a:rPr sz="2800" spc="-40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2800" spc="-150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2800" spc="-235">
                <a:solidFill>
                  <a:srgbClr val="29D5FF"/>
                </a:solidFill>
                <a:latin typeface="Trebuchet MS"/>
                <a:cs typeface="Trebuchet MS"/>
              </a:rPr>
              <a:t>Y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029325" y="6462149"/>
            <a:ext cx="134620" cy="1651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z="900" spc="-20" dirty="0">
                <a:solidFill>
                  <a:srgbClr val="BFBFBF"/>
                </a:solidFill>
                <a:latin typeface="Trebuchet MS"/>
                <a:cs typeface="Trebuchet MS"/>
              </a:rPr>
              <a:t>5</a:t>
            </a:fld>
            <a:endParaRPr sz="900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852936" y="2313939"/>
            <a:ext cx="2054860" cy="1305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" algn="ctr">
              <a:lnSpc>
                <a:spcPct val="100000"/>
              </a:lnSpc>
              <a:spcBef>
                <a:spcPts val="100"/>
              </a:spcBef>
            </a:pPr>
            <a:r>
              <a:rPr sz="2800" b="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b="0" spc="-60">
                <a:solidFill>
                  <a:srgbClr val="29D5FF"/>
                </a:solidFill>
                <a:latin typeface="Trebuchet MS"/>
                <a:cs typeface="Trebuchet MS"/>
              </a:rPr>
              <a:t>E</a:t>
            </a:r>
            <a:r>
              <a:rPr sz="2800" b="0" spc="-6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150">
                <a:solidFill>
                  <a:srgbClr val="29D5FF"/>
                </a:solidFill>
                <a:latin typeface="Trebuchet MS"/>
                <a:cs typeface="Trebuchet MS"/>
              </a:rPr>
              <a:t>G</a:t>
            </a:r>
            <a:r>
              <a:rPr sz="2800" b="0" spc="-70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b="0" spc="2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130">
                <a:solidFill>
                  <a:srgbClr val="29D5FF"/>
                </a:solidFill>
                <a:latin typeface="Trebuchet MS"/>
                <a:cs typeface="Trebuchet MS"/>
              </a:rPr>
              <a:t>EE</a:t>
            </a:r>
            <a:r>
              <a:rPr sz="2800" b="0" spc="-135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2800" b="0" spc="-85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b="0" spc="2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85">
                <a:solidFill>
                  <a:srgbClr val="29D5FF"/>
                </a:solidFill>
                <a:latin typeface="Trebuchet MS"/>
                <a:cs typeface="Trebuchet MS"/>
              </a:rPr>
              <a:t>G  </a:t>
            </a:r>
            <a:r>
              <a:rPr sz="2800" b="0" spc="-70">
                <a:solidFill>
                  <a:srgbClr val="29D5FF"/>
                </a:solidFill>
                <a:latin typeface="Trebuchet MS"/>
                <a:cs typeface="Trebuchet MS"/>
              </a:rPr>
              <a:t>&amp;</a:t>
            </a:r>
            <a:r>
              <a:rPr sz="2800" b="0" spc="-22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2800" b="0" spc="-100">
                <a:solidFill>
                  <a:srgbClr val="29D5FF"/>
                </a:solidFill>
                <a:latin typeface="Trebuchet MS"/>
                <a:cs typeface="Trebuchet MS"/>
              </a:rPr>
              <a:t>INSIGHT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807957" y="2536443"/>
            <a:ext cx="1932939" cy="8820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581025">
              <a:lnSpc>
                <a:spcPct val="100699"/>
              </a:lnSpc>
              <a:spcBef>
                <a:spcPts val="75"/>
              </a:spcBef>
            </a:pPr>
            <a:r>
              <a:rPr sz="280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spc="-114">
                <a:solidFill>
                  <a:srgbClr val="29D5FF"/>
                </a:solidFill>
                <a:latin typeface="Trebuchet MS"/>
                <a:cs typeface="Trebuchet MS"/>
              </a:rPr>
              <a:t>SCIENCE </a:t>
            </a:r>
            <a:r>
              <a:rPr sz="2800" spc="-70">
                <a:solidFill>
                  <a:srgbClr val="29D5FF"/>
                </a:solidFill>
                <a:latin typeface="Trebuchet MS"/>
                <a:cs typeface="Trebuchet MS"/>
              </a:rPr>
              <a:t>&amp;</a:t>
            </a:r>
            <a:r>
              <a:rPr sz="2800" spc="-35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2800" spc="-55">
                <a:solidFill>
                  <a:srgbClr val="29D5FF"/>
                </a:solidFill>
                <a:latin typeface="Trebuchet MS"/>
                <a:cs typeface="Trebuchet MS"/>
              </a:rPr>
              <a:t>AI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213868" y="4498340"/>
            <a:ext cx="1694180" cy="1372870"/>
          </a:xfrm>
          <a:prstGeom prst="rect">
            <a:avLst/>
          </a:prstGeom>
        </p:spPr>
        <p:txBody>
          <a:bodyPr vert="horz" wrap="square" lIns="0" tIns="1346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60"/>
              </a:spcBef>
            </a:pPr>
            <a:r>
              <a:rPr sz="6000" b="1" spc="-500">
                <a:solidFill>
                  <a:srgbClr val="6C03A8"/>
                </a:solidFill>
                <a:latin typeface="Trebuchet MS"/>
                <a:cs typeface="Trebuchet MS"/>
              </a:rPr>
              <a:t>70+</a:t>
            </a:r>
            <a:endParaRPr sz="60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1800" spc="-80">
                <a:solidFill>
                  <a:srgbClr val="6C03A8"/>
                </a:solidFill>
                <a:latin typeface="Trebuchet MS"/>
                <a:cs typeface="Trebuchet MS"/>
              </a:rPr>
              <a:t>konsulenter </a:t>
            </a:r>
            <a:r>
              <a:rPr sz="1800" spc="-10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1800" spc="-235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800" spc="-50">
                <a:solidFill>
                  <a:srgbClr val="6C03A8"/>
                </a:solidFill>
                <a:latin typeface="Trebuchet MS"/>
                <a:cs typeface="Trebuchet MS"/>
              </a:rPr>
              <a:t>Oslo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748316" y="4498340"/>
            <a:ext cx="1176655" cy="1372870"/>
          </a:xfrm>
          <a:prstGeom prst="rect">
            <a:avLst/>
          </a:prstGeom>
        </p:spPr>
        <p:txBody>
          <a:bodyPr vert="horz" wrap="square" lIns="0" tIns="1346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60"/>
              </a:spcBef>
            </a:pPr>
            <a:r>
              <a:rPr sz="6000" b="1" spc="-500">
                <a:solidFill>
                  <a:srgbClr val="6C03A8"/>
                </a:solidFill>
                <a:latin typeface="Trebuchet MS"/>
                <a:cs typeface="Trebuchet MS"/>
              </a:rPr>
              <a:t>20+</a:t>
            </a:r>
            <a:endParaRPr sz="60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1800" spc="-75">
                <a:solidFill>
                  <a:srgbClr val="6C03A8"/>
                </a:solidFill>
                <a:latin typeface="Trebuchet MS"/>
                <a:cs typeface="Trebuchet MS"/>
              </a:rPr>
              <a:t>års</a:t>
            </a:r>
            <a:r>
              <a:rPr sz="1800" spc="-22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800" spc="-85">
                <a:solidFill>
                  <a:srgbClr val="6C03A8"/>
                </a:solidFill>
                <a:latin typeface="Trebuchet MS"/>
                <a:cs typeface="Trebuchet MS"/>
              </a:rPr>
              <a:t>erfaring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30893" y="4348988"/>
            <a:ext cx="3275965" cy="147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030"/>
              </a:lnSpc>
              <a:spcBef>
                <a:spcPts val="100"/>
              </a:spcBef>
            </a:pPr>
            <a:r>
              <a:rPr sz="1800" spc="-90">
                <a:solidFill>
                  <a:srgbClr val="6C03A8"/>
                </a:solidFill>
                <a:latin typeface="Trebuchet MS"/>
                <a:cs typeface="Trebuchet MS"/>
              </a:rPr>
              <a:t>Leverandør- </a:t>
            </a:r>
            <a:r>
              <a:rPr sz="1800" spc="-40">
                <a:solidFill>
                  <a:srgbClr val="6C03A8"/>
                </a:solidFill>
                <a:latin typeface="Trebuchet MS"/>
                <a:cs typeface="Trebuchet MS"/>
              </a:rPr>
              <a:t>og</a:t>
            </a:r>
            <a:r>
              <a:rPr sz="1800" spc="-190">
                <a:solidFill>
                  <a:srgbClr val="6C03A8"/>
                </a:solidFill>
                <a:latin typeface="Trebuchet MS"/>
                <a:cs typeface="Trebuchet MS"/>
              </a:rPr>
              <a:t> </a:t>
            </a:r>
            <a:r>
              <a:rPr sz="1800" spc="-80">
                <a:solidFill>
                  <a:srgbClr val="6C03A8"/>
                </a:solidFill>
                <a:latin typeface="Trebuchet MS"/>
                <a:cs typeface="Trebuchet MS"/>
              </a:rPr>
              <a:t>teknologi-</a:t>
            </a:r>
            <a:endParaRPr sz="1800">
              <a:latin typeface="Trebuchet MS"/>
              <a:cs typeface="Trebuchet MS"/>
            </a:endParaRPr>
          </a:p>
          <a:p>
            <a:pPr marL="12700">
              <a:lnSpc>
                <a:spcPts val="7070"/>
              </a:lnSpc>
            </a:pPr>
            <a:r>
              <a:rPr sz="6000" b="1" spc="-290">
                <a:solidFill>
                  <a:srgbClr val="6C03A8"/>
                </a:solidFill>
                <a:latin typeface="Trebuchet MS"/>
                <a:cs typeface="Trebuchet MS"/>
              </a:rPr>
              <a:t>u</a:t>
            </a:r>
            <a:r>
              <a:rPr sz="6000" b="1" spc="-355">
                <a:solidFill>
                  <a:srgbClr val="6C03A8"/>
                </a:solidFill>
                <a:latin typeface="Trebuchet MS"/>
                <a:cs typeface="Trebuchet MS"/>
              </a:rPr>
              <a:t>a</a:t>
            </a:r>
            <a:r>
              <a:rPr sz="6000" b="1" spc="-335">
                <a:solidFill>
                  <a:srgbClr val="6C03A8"/>
                </a:solidFill>
                <a:latin typeface="Trebuchet MS"/>
                <a:cs typeface="Trebuchet MS"/>
              </a:rPr>
              <a:t>v</a:t>
            </a:r>
            <a:r>
              <a:rPr sz="6000" b="1" spc="-385">
                <a:solidFill>
                  <a:srgbClr val="6C03A8"/>
                </a:solidFill>
                <a:latin typeface="Trebuchet MS"/>
                <a:cs typeface="Trebuchet MS"/>
              </a:rPr>
              <a:t>h</a:t>
            </a:r>
            <a:r>
              <a:rPr sz="6000" b="1" spc="-370">
                <a:solidFill>
                  <a:srgbClr val="6C03A8"/>
                </a:solidFill>
                <a:latin typeface="Trebuchet MS"/>
                <a:cs typeface="Trebuchet MS"/>
              </a:rPr>
              <a:t>e</a:t>
            </a:r>
            <a:r>
              <a:rPr sz="6000" b="1" spc="-260">
                <a:solidFill>
                  <a:srgbClr val="6C03A8"/>
                </a:solidFill>
                <a:latin typeface="Trebuchet MS"/>
                <a:cs typeface="Trebuchet MS"/>
              </a:rPr>
              <a:t>n</a:t>
            </a:r>
            <a:r>
              <a:rPr sz="6000" b="1" spc="-215">
                <a:solidFill>
                  <a:srgbClr val="6C03A8"/>
                </a:solidFill>
                <a:latin typeface="Trebuchet MS"/>
                <a:cs typeface="Trebuchet MS"/>
              </a:rPr>
              <a:t>g</a:t>
            </a:r>
            <a:r>
              <a:rPr sz="6000" b="1" spc="-325">
                <a:solidFill>
                  <a:srgbClr val="6C03A8"/>
                </a:solidFill>
                <a:latin typeface="Trebuchet MS"/>
                <a:cs typeface="Trebuchet MS"/>
              </a:rPr>
              <a:t>i</a:t>
            </a:r>
            <a:r>
              <a:rPr sz="6000" b="1" spc="-170">
                <a:solidFill>
                  <a:srgbClr val="6C03A8"/>
                </a:solidFill>
                <a:latin typeface="Trebuchet MS"/>
                <a:cs typeface="Trebuchet MS"/>
              </a:rPr>
              <a:t>g</a:t>
            </a:r>
            <a:endParaRPr sz="60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1800" spc="-85">
                <a:solidFill>
                  <a:srgbClr val="6C03A8"/>
                </a:solidFill>
                <a:latin typeface="Trebuchet MS"/>
                <a:cs typeface="Trebuchet MS"/>
              </a:rPr>
              <a:t>rådgiver</a:t>
            </a:r>
            <a:endParaRPr sz="18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189464" y="6419088"/>
            <a:ext cx="1380744" cy="2225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-1" y="2100072"/>
            <a:ext cx="12192000" cy="1800225"/>
          </a:xfrm>
          <a:custGeom>
            <a:avLst/>
            <a:gdLst/>
            <a:ahLst/>
            <a:cxnLst/>
            <a:rect l="l" t="t" r="r" b="b"/>
            <a:pathLst>
              <a:path w="12192000" h="1800225">
                <a:moveTo>
                  <a:pt x="12192001" y="0"/>
                </a:moveTo>
                <a:lnTo>
                  <a:pt x="0" y="0"/>
                </a:lnTo>
                <a:lnTo>
                  <a:pt x="0" y="1799996"/>
                </a:lnTo>
                <a:lnTo>
                  <a:pt x="12192001" y="1799996"/>
                </a:lnTo>
                <a:lnTo>
                  <a:pt x="12192001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99489" y="633298"/>
            <a:ext cx="11250537" cy="9849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997223" y="3135820"/>
            <a:ext cx="2203526" cy="220351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291118" y="4646561"/>
            <a:ext cx="1177692" cy="4953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274125" y="5407271"/>
            <a:ext cx="1177683" cy="233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303476" y="4119245"/>
            <a:ext cx="1202613" cy="24991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428663" y="5361565"/>
            <a:ext cx="1202613" cy="24052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57613" y="5306415"/>
            <a:ext cx="1372603" cy="48759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63347" y="4719751"/>
            <a:ext cx="1114409" cy="40208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73877" y="5825261"/>
            <a:ext cx="1809788" cy="58146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01453" y="4117657"/>
            <a:ext cx="1838191" cy="23982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0242257" y="3975404"/>
            <a:ext cx="1370114" cy="70147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0036505" y="5932012"/>
            <a:ext cx="1781606" cy="44729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0572445" y="4647438"/>
            <a:ext cx="531202" cy="36964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335991" y="4718989"/>
            <a:ext cx="1378394" cy="34232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549317" y="4704551"/>
            <a:ext cx="1302042" cy="21446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547044" y="5952327"/>
            <a:ext cx="1311198" cy="3632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37802" y="5297971"/>
            <a:ext cx="907917" cy="46633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32582" y="3895147"/>
            <a:ext cx="897407" cy="68486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701187" y="6029490"/>
            <a:ext cx="1248039" cy="357717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55404" y="4641596"/>
            <a:ext cx="939596" cy="44432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370853" y="5954829"/>
            <a:ext cx="1440002" cy="345262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0214182" y="5232129"/>
            <a:ext cx="1330452" cy="488863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320278" y="5734541"/>
            <a:ext cx="1228826" cy="819221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1237584" y="2536443"/>
            <a:ext cx="1497330" cy="8820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363855">
              <a:lnSpc>
                <a:spcPct val="100699"/>
              </a:lnSpc>
              <a:spcBef>
                <a:spcPts val="75"/>
              </a:spcBef>
            </a:pPr>
            <a:r>
              <a:rPr sz="280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spc="-30">
                <a:solidFill>
                  <a:srgbClr val="29D5FF"/>
                </a:solidFill>
                <a:latin typeface="Trebuchet MS"/>
                <a:cs typeface="Trebuchet MS"/>
              </a:rPr>
              <a:t>AD</a:t>
            </a:r>
            <a:r>
              <a:rPr sz="2800" spc="-95">
                <a:solidFill>
                  <a:srgbClr val="29D5FF"/>
                </a:solidFill>
                <a:latin typeface="Trebuchet MS"/>
                <a:cs typeface="Trebuchet MS"/>
              </a:rPr>
              <a:t>V</a:t>
            </a:r>
            <a:r>
              <a:rPr sz="2800" spc="-55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spc="-65">
                <a:solidFill>
                  <a:srgbClr val="29D5FF"/>
                </a:solidFill>
                <a:latin typeface="Trebuchet MS"/>
                <a:cs typeface="Trebuchet MS"/>
              </a:rPr>
              <a:t>S</a:t>
            </a:r>
            <a:r>
              <a:rPr sz="2800" spc="-40">
                <a:solidFill>
                  <a:srgbClr val="29D5FF"/>
                </a:solidFill>
                <a:latin typeface="Trebuchet MS"/>
                <a:cs typeface="Trebuchet MS"/>
              </a:rPr>
              <a:t>O</a:t>
            </a:r>
            <a:r>
              <a:rPr sz="2800" spc="-150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2800" spc="-235">
                <a:solidFill>
                  <a:srgbClr val="29D5FF"/>
                </a:solidFill>
                <a:latin typeface="Trebuchet MS"/>
                <a:cs typeface="Trebuchet MS"/>
              </a:rPr>
              <a:t>Y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>
            <a:spLocks noGrp="1"/>
          </p:cNvSpPr>
          <p:nvPr>
            <p:ph type="title"/>
          </p:nvPr>
        </p:nvSpPr>
        <p:spPr>
          <a:xfrm>
            <a:off x="4852936" y="2313939"/>
            <a:ext cx="2054860" cy="1305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" algn="ctr">
              <a:lnSpc>
                <a:spcPct val="100000"/>
              </a:lnSpc>
              <a:spcBef>
                <a:spcPts val="100"/>
              </a:spcBef>
            </a:pPr>
            <a:r>
              <a:rPr sz="2800" b="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b="0" spc="-60">
                <a:solidFill>
                  <a:srgbClr val="29D5FF"/>
                </a:solidFill>
                <a:latin typeface="Trebuchet MS"/>
                <a:cs typeface="Trebuchet MS"/>
              </a:rPr>
              <a:t>E</a:t>
            </a:r>
            <a:r>
              <a:rPr sz="2800" b="0" spc="-6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150">
                <a:solidFill>
                  <a:srgbClr val="29D5FF"/>
                </a:solidFill>
                <a:latin typeface="Trebuchet MS"/>
                <a:cs typeface="Trebuchet MS"/>
              </a:rPr>
              <a:t>G</a:t>
            </a:r>
            <a:r>
              <a:rPr sz="2800" b="0" spc="-70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b="0" spc="2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130">
                <a:solidFill>
                  <a:srgbClr val="29D5FF"/>
                </a:solidFill>
                <a:latin typeface="Trebuchet MS"/>
                <a:cs typeface="Trebuchet MS"/>
              </a:rPr>
              <a:t>EE</a:t>
            </a:r>
            <a:r>
              <a:rPr sz="2800" b="0" spc="-135">
                <a:solidFill>
                  <a:srgbClr val="29D5FF"/>
                </a:solidFill>
                <a:latin typeface="Trebuchet MS"/>
                <a:cs typeface="Trebuchet MS"/>
              </a:rPr>
              <a:t>R</a:t>
            </a:r>
            <a:r>
              <a:rPr sz="2800" b="0" spc="-85">
                <a:solidFill>
                  <a:srgbClr val="29D5FF"/>
                </a:solidFill>
                <a:latin typeface="Trebuchet MS"/>
                <a:cs typeface="Trebuchet MS"/>
              </a:rPr>
              <a:t>I</a:t>
            </a:r>
            <a:r>
              <a:rPr sz="2800" b="0" spc="25">
                <a:solidFill>
                  <a:srgbClr val="29D5FF"/>
                </a:solidFill>
                <a:latin typeface="Trebuchet MS"/>
                <a:cs typeface="Trebuchet MS"/>
              </a:rPr>
              <a:t>N</a:t>
            </a:r>
            <a:r>
              <a:rPr sz="2800" b="0" spc="-85">
                <a:solidFill>
                  <a:srgbClr val="29D5FF"/>
                </a:solidFill>
                <a:latin typeface="Trebuchet MS"/>
                <a:cs typeface="Trebuchet MS"/>
              </a:rPr>
              <a:t>G  </a:t>
            </a:r>
            <a:r>
              <a:rPr sz="2800" b="0" spc="-70">
                <a:solidFill>
                  <a:srgbClr val="29D5FF"/>
                </a:solidFill>
                <a:latin typeface="Trebuchet MS"/>
                <a:cs typeface="Trebuchet MS"/>
              </a:rPr>
              <a:t>&amp;</a:t>
            </a:r>
            <a:r>
              <a:rPr sz="2800" b="0" spc="-22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2800" b="0" spc="-100">
                <a:solidFill>
                  <a:srgbClr val="29D5FF"/>
                </a:solidFill>
                <a:latin typeface="Trebuchet MS"/>
                <a:cs typeface="Trebuchet MS"/>
              </a:rPr>
              <a:t>INSIGHT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807957" y="2536443"/>
            <a:ext cx="1932939" cy="8820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581025">
              <a:lnSpc>
                <a:spcPct val="100699"/>
              </a:lnSpc>
              <a:spcBef>
                <a:spcPts val="75"/>
              </a:spcBef>
            </a:pPr>
            <a:r>
              <a:rPr sz="2800" spc="-204">
                <a:solidFill>
                  <a:srgbClr val="29D5FF"/>
                </a:solidFill>
                <a:latin typeface="Trebuchet MS"/>
                <a:cs typeface="Trebuchet MS"/>
              </a:rPr>
              <a:t>DATA  </a:t>
            </a:r>
            <a:r>
              <a:rPr sz="2800" spc="-114">
                <a:solidFill>
                  <a:srgbClr val="29D5FF"/>
                </a:solidFill>
                <a:latin typeface="Trebuchet MS"/>
                <a:cs typeface="Trebuchet MS"/>
              </a:rPr>
              <a:t>SCIENCE </a:t>
            </a:r>
            <a:r>
              <a:rPr sz="2800" spc="-70">
                <a:solidFill>
                  <a:srgbClr val="29D5FF"/>
                </a:solidFill>
                <a:latin typeface="Trebuchet MS"/>
                <a:cs typeface="Trebuchet MS"/>
              </a:rPr>
              <a:t>&amp;</a:t>
            </a:r>
            <a:r>
              <a:rPr sz="2800" spc="-355">
                <a:solidFill>
                  <a:srgbClr val="29D5FF"/>
                </a:solidFill>
                <a:latin typeface="Trebuchet MS"/>
                <a:cs typeface="Trebuchet MS"/>
              </a:rPr>
              <a:t> </a:t>
            </a:r>
            <a:r>
              <a:rPr sz="2800" spc="-55">
                <a:solidFill>
                  <a:srgbClr val="29D5FF"/>
                </a:solidFill>
                <a:latin typeface="Trebuchet MS"/>
                <a:cs typeface="Trebuchet MS"/>
              </a:rPr>
              <a:t>AI</a:t>
            </a:r>
            <a:endParaRPr sz="2800">
              <a:latin typeface="Trebuchet MS"/>
              <a:cs typeface="Trebuchet M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433439" y="4097176"/>
            <a:ext cx="1183505" cy="370886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344542" y="5177358"/>
            <a:ext cx="1670202" cy="54306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6029325" y="6462149"/>
            <a:ext cx="134620" cy="1651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55"/>
              </a:spcBef>
            </a:pPr>
            <a:fld id="{81D60167-4931-47E6-BA6A-407CBD079E47}" type="slidenum">
              <a:rPr sz="900" spc="-20" dirty="0">
                <a:solidFill>
                  <a:srgbClr val="BFBFBF"/>
                </a:solidFill>
                <a:latin typeface="Trebuchet MS"/>
                <a:cs typeface="Trebuchet MS"/>
              </a:rPr>
              <a:t>6</a:t>
            </a:fld>
            <a:endParaRPr sz="9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455358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265">
                <a:solidFill>
                  <a:srgbClr val="FFFFFF"/>
                </a:solidFill>
              </a:rPr>
              <a:t>Value driven</a:t>
            </a:r>
            <a:r>
              <a:rPr sz="4400" spc="-480">
                <a:solidFill>
                  <a:srgbClr val="FFFFFF"/>
                </a:solidFill>
              </a:rPr>
              <a:t> </a:t>
            </a:r>
            <a:r>
              <a:rPr sz="4400" spc="-210">
                <a:solidFill>
                  <a:srgbClr val="FFFFFF"/>
                </a:solidFill>
              </a:rPr>
              <a:t>design</a:t>
            </a:r>
            <a:endParaRPr sz="44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54725" y="6456679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>
                <a:solidFill>
                  <a:srgbClr val="BFBFBF"/>
                </a:solidFill>
                <a:latin typeface="Trebuchet MS"/>
                <a:cs typeface="Trebuchet MS"/>
              </a:rPr>
              <a:t>8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11187" y="481076"/>
            <a:ext cx="101834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25"/>
              <a:t>Our</a:t>
            </a:r>
            <a:r>
              <a:rPr spc="-185"/>
              <a:t> </a:t>
            </a:r>
            <a:r>
              <a:rPr spc="-135"/>
              <a:t>approach</a:t>
            </a:r>
            <a:r>
              <a:rPr spc="-185"/>
              <a:t> </a:t>
            </a:r>
            <a:r>
              <a:rPr spc="-105"/>
              <a:t>has</a:t>
            </a:r>
            <a:r>
              <a:rPr spc="-175"/>
              <a:t> </a:t>
            </a:r>
            <a:r>
              <a:rPr spc="-145"/>
              <a:t>the</a:t>
            </a:r>
            <a:r>
              <a:rPr spc="-180"/>
              <a:t> </a:t>
            </a:r>
            <a:r>
              <a:rPr spc="-140"/>
              <a:t>desired</a:t>
            </a:r>
            <a:r>
              <a:rPr spc="-185"/>
              <a:t> </a:t>
            </a:r>
            <a:r>
              <a:rPr spc="-114"/>
              <a:t>business</a:t>
            </a:r>
            <a:r>
              <a:rPr spc="-175"/>
              <a:t> </a:t>
            </a:r>
            <a:r>
              <a:rPr spc="-140"/>
              <a:t>value</a:t>
            </a:r>
            <a:r>
              <a:rPr spc="-180"/>
              <a:t> </a:t>
            </a:r>
            <a:r>
              <a:rPr spc="-135"/>
              <a:t>in</a:t>
            </a:r>
            <a:r>
              <a:rPr spc="-180"/>
              <a:t> </a:t>
            </a:r>
            <a:r>
              <a:rPr spc="-140"/>
              <a:t>focus</a:t>
            </a:r>
            <a:r>
              <a:rPr spc="-180"/>
              <a:t> </a:t>
            </a:r>
            <a:r>
              <a:rPr spc="-125"/>
              <a:t>throughout</a:t>
            </a:r>
            <a:r>
              <a:rPr spc="-175"/>
              <a:t> </a:t>
            </a:r>
            <a:r>
              <a:rPr spc="-145"/>
              <a:t>the</a:t>
            </a:r>
            <a:r>
              <a:rPr spc="-175"/>
              <a:t> </a:t>
            </a:r>
            <a:r>
              <a:rPr spc="-135"/>
              <a:t>initiative</a:t>
            </a:r>
            <a:r>
              <a:rPr spc="-180"/>
              <a:t> </a:t>
            </a:r>
            <a:r>
              <a:rPr spc="-60"/>
              <a:t>…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11187" y="931164"/>
            <a:ext cx="4104004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65">
                <a:latin typeface="Trebuchet MS"/>
                <a:cs typeface="Trebuchet MS"/>
              </a:rPr>
              <a:t>BearingPoint’s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75">
                <a:latin typeface="Trebuchet MS"/>
                <a:cs typeface="Trebuchet MS"/>
              </a:rPr>
              <a:t>Value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50">
                <a:latin typeface="Trebuchet MS"/>
                <a:cs typeface="Trebuchet MS"/>
              </a:rPr>
              <a:t>Driven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Data</a:t>
            </a:r>
            <a:r>
              <a:rPr sz="1400" spc="-110">
                <a:latin typeface="Trebuchet MS"/>
                <a:cs typeface="Trebuchet MS"/>
              </a:rPr>
              <a:t> </a:t>
            </a:r>
            <a:r>
              <a:rPr sz="1400" spc="-35">
                <a:latin typeface="Trebuchet MS"/>
                <a:cs typeface="Trebuchet MS"/>
              </a:rPr>
              <a:t>&amp;</a:t>
            </a:r>
            <a:r>
              <a:rPr sz="1400" spc="-12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Analytics</a:t>
            </a:r>
            <a:r>
              <a:rPr sz="1400" spc="-114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Framework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289820" y="2202395"/>
            <a:ext cx="1971039" cy="3331210"/>
            <a:chOff x="3289820" y="2202395"/>
            <a:chExt cx="1971039" cy="3331210"/>
          </a:xfrm>
        </p:grpSpPr>
        <p:sp>
          <p:nvSpPr>
            <p:cNvPr id="6" name="object 6"/>
            <p:cNvSpPr/>
            <p:nvPr/>
          </p:nvSpPr>
          <p:spPr>
            <a:xfrm>
              <a:off x="3289820" y="2202395"/>
              <a:ext cx="1970951" cy="3331159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346360" y="2247087"/>
              <a:ext cx="1870075" cy="3238500"/>
            </a:xfrm>
            <a:custGeom>
              <a:avLst/>
              <a:gdLst/>
              <a:ahLst/>
              <a:cxnLst/>
              <a:rect l="l" t="t" r="r" b="b"/>
              <a:pathLst>
                <a:path w="1870075" h="3238500">
                  <a:moveTo>
                    <a:pt x="1583626" y="0"/>
                  </a:moveTo>
                  <a:lnTo>
                    <a:pt x="285838" y="0"/>
                  </a:lnTo>
                  <a:lnTo>
                    <a:pt x="239475" y="3741"/>
                  </a:lnTo>
                  <a:lnTo>
                    <a:pt x="195493" y="14572"/>
                  </a:lnTo>
                  <a:lnTo>
                    <a:pt x="154480" y="31905"/>
                  </a:lnTo>
                  <a:lnTo>
                    <a:pt x="117027" y="55152"/>
                  </a:lnTo>
                  <a:lnTo>
                    <a:pt x="83721" y="83723"/>
                  </a:lnTo>
                  <a:lnTo>
                    <a:pt x="55151" y="117030"/>
                  </a:lnTo>
                  <a:lnTo>
                    <a:pt x="31905" y="154485"/>
                  </a:lnTo>
                  <a:lnTo>
                    <a:pt x="14572" y="195499"/>
                  </a:lnTo>
                  <a:lnTo>
                    <a:pt x="3741" y="239484"/>
                  </a:lnTo>
                  <a:lnTo>
                    <a:pt x="0" y="285851"/>
                  </a:lnTo>
                  <a:lnTo>
                    <a:pt x="0" y="2952318"/>
                  </a:lnTo>
                  <a:lnTo>
                    <a:pt x="3741" y="2998681"/>
                  </a:lnTo>
                  <a:lnTo>
                    <a:pt x="14572" y="3042664"/>
                  </a:lnTo>
                  <a:lnTo>
                    <a:pt x="31905" y="3083676"/>
                  </a:lnTo>
                  <a:lnTo>
                    <a:pt x="55151" y="3121129"/>
                  </a:lnTo>
                  <a:lnTo>
                    <a:pt x="83721" y="3154435"/>
                  </a:lnTo>
                  <a:lnTo>
                    <a:pt x="117027" y="3183005"/>
                  </a:lnTo>
                  <a:lnTo>
                    <a:pt x="154480" y="3206251"/>
                  </a:lnTo>
                  <a:lnTo>
                    <a:pt x="195493" y="3223584"/>
                  </a:lnTo>
                  <a:lnTo>
                    <a:pt x="239475" y="3234415"/>
                  </a:lnTo>
                  <a:lnTo>
                    <a:pt x="285838" y="3238157"/>
                  </a:lnTo>
                  <a:lnTo>
                    <a:pt x="1583626" y="3238157"/>
                  </a:lnTo>
                  <a:lnTo>
                    <a:pt x="1629993" y="3234415"/>
                  </a:lnTo>
                  <a:lnTo>
                    <a:pt x="1673978" y="3223584"/>
                  </a:lnTo>
                  <a:lnTo>
                    <a:pt x="1714992" y="3206251"/>
                  </a:lnTo>
                  <a:lnTo>
                    <a:pt x="1752447" y="3183005"/>
                  </a:lnTo>
                  <a:lnTo>
                    <a:pt x="1785754" y="3154435"/>
                  </a:lnTo>
                  <a:lnTo>
                    <a:pt x="1814325" y="3121129"/>
                  </a:lnTo>
                  <a:lnTo>
                    <a:pt x="1837572" y="3083676"/>
                  </a:lnTo>
                  <a:lnTo>
                    <a:pt x="1854905" y="3042664"/>
                  </a:lnTo>
                  <a:lnTo>
                    <a:pt x="1865736" y="2998681"/>
                  </a:lnTo>
                  <a:lnTo>
                    <a:pt x="1869478" y="2952318"/>
                  </a:lnTo>
                  <a:lnTo>
                    <a:pt x="1869478" y="285851"/>
                  </a:lnTo>
                  <a:lnTo>
                    <a:pt x="1865736" y="239484"/>
                  </a:lnTo>
                  <a:lnTo>
                    <a:pt x="1854905" y="195499"/>
                  </a:lnTo>
                  <a:lnTo>
                    <a:pt x="1837572" y="154485"/>
                  </a:lnTo>
                  <a:lnTo>
                    <a:pt x="1814325" y="117030"/>
                  </a:lnTo>
                  <a:lnTo>
                    <a:pt x="1785754" y="83723"/>
                  </a:lnTo>
                  <a:lnTo>
                    <a:pt x="1752447" y="55152"/>
                  </a:lnTo>
                  <a:lnTo>
                    <a:pt x="1714992" y="31905"/>
                  </a:lnTo>
                  <a:lnTo>
                    <a:pt x="1673978" y="14572"/>
                  </a:lnTo>
                  <a:lnTo>
                    <a:pt x="1629993" y="3741"/>
                  </a:lnTo>
                  <a:lnTo>
                    <a:pt x="158362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>
            <p:custDataLst>
              <p:tags r:id="rId1"/>
            </p:custDataLst>
          </p:nvPr>
        </p:nvSpPr>
        <p:spPr>
          <a:xfrm>
            <a:off x="3488931" y="2351023"/>
            <a:ext cx="1584960" cy="58356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419100">
              <a:lnSpc>
                <a:spcPct val="102200"/>
              </a:lnSpc>
              <a:spcBef>
                <a:spcPts val="75"/>
              </a:spcBef>
            </a:pP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What </a:t>
            </a:r>
            <a:r>
              <a:rPr sz="900" spc="-55">
                <a:solidFill>
                  <a:srgbClr val="4D4F53"/>
                </a:solidFill>
                <a:latin typeface="Trebuchet MS"/>
                <a:cs typeface="Trebuchet MS"/>
              </a:rPr>
              <a:t>analytical 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approach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can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provide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the</a:t>
            </a:r>
            <a:r>
              <a:rPr sz="900" spc="-17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desired</a:t>
            </a:r>
            <a:endParaRPr sz="900">
              <a:latin typeface="Trebuchet MS"/>
              <a:cs typeface="Trebuchet MS"/>
            </a:endParaRPr>
          </a:p>
          <a:p>
            <a:pPr marL="622300" marR="82550" indent="-532765">
              <a:lnSpc>
                <a:spcPct val="102200"/>
              </a:lnSpc>
            </a:pP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insight and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enable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the</a:t>
            </a:r>
            <a:r>
              <a:rPr sz="900" spc="-204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desired 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action?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1127565" y="1640954"/>
            <a:ext cx="10310495" cy="3893185"/>
            <a:chOff x="1127565" y="1640954"/>
            <a:chExt cx="10310495" cy="3893185"/>
          </a:xfrm>
        </p:grpSpPr>
        <p:sp>
          <p:nvSpPr>
            <p:cNvPr id="10" name="object 10"/>
            <p:cNvSpPr/>
            <p:nvPr/>
          </p:nvSpPr>
          <p:spPr>
            <a:xfrm>
              <a:off x="1230830" y="2202395"/>
              <a:ext cx="1970953" cy="3331159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127565" y="1640954"/>
              <a:ext cx="10264140" cy="379730"/>
            </a:xfrm>
            <a:custGeom>
              <a:avLst/>
              <a:gdLst/>
              <a:ahLst/>
              <a:cxnLst/>
              <a:rect l="l" t="t" r="r" b="b"/>
              <a:pathLst>
                <a:path w="10264140" h="379730">
                  <a:moveTo>
                    <a:pt x="10263585" y="0"/>
                  </a:moveTo>
                  <a:lnTo>
                    <a:pt x="189805" y="0"/>
                  </a:lnTo>
                  <a:lnTo>
                    <a:pt x="0" y="189801"/>
                  </a:lnTo>
                  <a:lnTo>
                    <a:pt x="189805" y="379602"/>
                  </a:lnTo>
                  <a:lnTo>
                    <a:pt x="10263585" y="379602"/>
                  </a:lnTo>
                  <a:lnTo>
                    <a:pt x="10073783" y="189801"/>
                  </a:lnTo>
                  <a:lnTo>
                    <a:pt x="10263585" y="0"/>
                  </a:lnTo>
                  <a:close/>
                </a:path>
              </a:pathLst>
            </a:custGeom>
            <a:solidFill>
              <a:srgbClr val="6C0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348795" y="2202395"/>
              <a:ext cx="1970963" cy="3331159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407783" y="2202395"/>
              <a:ext cx="1970963" cy="3331159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466770" y="2202395"/>
              <a:ext cx="1970963" cy="3331159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>
            <p:custDataLst>
              <p:tags r:id="rId2"/>
            </p:custDataLst>
          </p:nvPr>
        </p:nvSpPr>
        <p:spPr>
          <a:xfrm>
            <a:off x="5449633" y="1683003"/>
            <a:ext cx="1710689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00">
                <a:solidFill>
                  <a:srgbClr val="FFFFFF"/>
                </a:solidFill>
                <a:latin typeface="Trebuchet MS"/>
                <a:cs typeface="Trebuchet MS"/>
              </a:rPr>
              <a:t>Value </a:t>
            </a:r>
            <a:r>
              <a:rPr sz="1600" b="1" spc="-90">
                <a:solidFill>
                  <a:srgbClr val="FFFFFF"/>
                </a:solidFill>
                <a:latin typeface="Trebuchet MS"/>
                <a:cs typeface="Trebuchet MS"/>
              </a:rPr>
              <a:t>Driven</a:t>
            </a:r>
            <a:r>
              <a:rPr sz="1600" b="1" spc="-21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00" b="1" spc="-70">
                <a:solidFill>
                  <a:srgbClr val="FFFFFF"/>
                </a:solidFill>
                <a:latin typeface="Trebuchet MS"/>
                <a:cs typeface="Trebuchet MS"/>
              </a:rPr>
              <a:t>Design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276794" y="5669187"/>
            <a:ext cx="10264140" cy="374015"/>
          </a:xfrm>
          <a:custGeom>
            <a:avLst/>
            <a:gdLst/>
            <a:ahLst/>
            <a:cxnLst/>
            <a:rect l="l" t="t" r="r" b="b"/>
            <a:pathLst>
              <a:path w="10264140" h="374014">
                <a:moveTo>
                  <a:pt x="10053193" y="0"/>
                </a:moveTo>
                <a:lnTo>
                  <a:pt x="0" y="0"/>
                </a:lnTo>
                <a:lnTo>
                  <a:pt x="0" y="373912"/>
                </a:lnTo>
                <a:lnTo>
                  <a:pt x="10053193" y="373912"/>
                </a:lnTo>
                <a:lnTo>
                  <a:pt x="10263581" y="186956"/>
                </a:lnTo>
                <a:lnTo>
                  <a:pt x="10053193" y="0"/>
                </a:lnTo>
                <a:close/>
              </a:path>
            </a:pathLst>
          </a:custGeom>
          <a:solidFill>
            <a:srgbClr val="29D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4654956" y="5727700"/>
            <a:ext cx="351853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80">
                <a:solidFill>
                  <a:srgbClr val="FFFFFF"/>
                </a:solidFill>
                <a:latin typeface="Trebuchet MS"/>
                <a:cs typeface="Trebuchet MS"/>
              </a:rPr>
              <a:t>Business </a:t>
            </a:r>
            <a:r>
              <a:rPr sz="1600" b="1" spc="-75">
                <a:solidFill>
                  <a:srgbClr val="FFFFFF"/>
                </a:solidFill>
                <a:latin typeface="Trebuchet MS"/>
                <a:cs typeface="Trebuchet MS"/>
              </a:rPr>
              <a:t>and </a:t>
            </a:r>
            <a:r>
              <a:rPr sz="1600" b="1" spc="-110">
                <a:solidFill>
                  <a:srgbClr val="FFFFFF"/>
                </a:solidFill>
                <a:latin typeface="Trebuchet MS"/>
                <a:cs typeface="Trebuchet MS"/>
              </a:rPr>
              <a:t>Technology</a:t>
            </a:r>
            <a:r>
              <a:rPr sz="1600" b="1" spc="-25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00" b="1" spc="-85">
                <a:solidFill>
                  <a:srgbClr val="FFFFFF"/>
                </a:solidFill>
                <a:latin typeface="Trebuchet MS"/>
                <a:cs typeface="Trebuchet MS"/>
              </a:rPr>
              <a:t>Implementation</a:t>
            </a:r>
            <a:endParaRPr sz="1600">
              <a:latin typeface="Trebuchet MS"/>
              <a:cs typeface="Trebuchet MS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31150" y="1641132"/>
            <a:ext cx="10937240" cy="4402455"/>
            <a:chOff x="631150" y="1641132"/>
            <a:chExt cx="10937240" cy="4402455"/>
          </a:xfrm>
        </p:grpSpPr>
        <p:sp>
          <p:nvSpPr>
            <p:cNvPr id="19" name="object 19"/>
            <p:cNvSpPr/>
            <p:nvPr/>
          </p:nvSpPr>
          <p:spPr>
            <a:xfrm>
              <a:off x="631150" y="1641132"/>
              <a:ext cx="2851925" cy="4401947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5004066" y="2108339"/>
              <a:ext cx="6564045" cy="3425215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>
            <p:custDataLst>
              <p:tags r:id="rId3"/>
            </p:custDataLst>
          </p:nvPr>
        </p:nvSpPr>
        <p:spPr>
          <a:xfrm>
            <a:off x="1421244" y="2344928"/>
            <a:ext cx="1589405" cy="4432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What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data </a:t>
            </a:r>
            <a:r>
              <a:rPr sz="900" spc="-20">
                <a:solidFill>
                  <a:srgbClr val="4D4F53"/>
                </a:solidFill>
                <a:latin typeface="Trebuchet MS"/>
                <a:cs typeface="Trebuchet MS"/>
              </a:rPr>
              <a:t>do</a:t>
            </a:r>
            <a:r>
              <a:rPr sz="900" spc="-204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we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need</a:t>
            </a:r>
            <a:endParaRPr sz="9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to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conduct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the specified</a:t>
            </a:r>
            <a:r>
              <a:rPr sz="900" spc="-204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analysis?</a:t>
            </a:r>
            <a:endParaRPr sz="90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Is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that data</a:t>
            </a:r>
            <a:r>
              <a:rPr sz="900" spc="-16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available?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>
            <p:custDataLst>
              <p:tags r:id="rId4"/>
            </p:custDataLst>
          </p:nvPr>
        </p:nvSpPr>
        <p:spPr>
          <a:xfrm>
            <a:off x="5633770" y="2347976"/>
            <a:ext cx="1394460" cy="4432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319405">
              <a:lnSpc>
                <a:spcPct val="102200"/>
              </a:lnSpc>
              <a:spcBef>
                <a:spcPts val="75"/>
              </a:spcBef>
            </a:pP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Which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insight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is 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needed to</a:t>
            </a:r>
            <a:r>
              <a:rPr sz="900" spc="-21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enable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the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desired</a:t>
            </a:r>
            <a:endParaRPr sz="900">
              <a:latin typeface="Trebuchet MS"/>
              <a:cs typeface="Trebuchet MS"/>
            </a:endParaRPr>
          </a:p>
          <a:p>
            <a:pPr marL="317500">
              <a:lnSpc>
                <a:spcPct val="100000"/>
              </a:lnSpc>
              <a:spcBef>
                <a:spcPts val="25"/>
              </a:spcBef>
            </a:pP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way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of</a:t>
            </a:r>
            <a:r>
              <a:rPr sz="900" spc="-11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0">
                <a:solidFill>
                  <a:srgbClr val="4D4F53"/>
                </a:solidFill>
                <a:latin typeface="Trebuchet MS"/>
                <a:cs typeface="Trebuchet MS"/>
              </a:rPr>
              <a:t>working?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>
            <p:custDataLst>
              <p:tags r:id="rId5"/>
            </p:custDataLst>
          </p:nvPr>
        </p:nvSpPr>
        <p:spPr>
          <a:xfrm>
            <a:off x="7611757" y="2344928"/>
            <a:ext cx="1571625" cy="4432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2200"/>
              </a:lnSpc>
              <a:spcBef>
                <a:spcPts val="75"/>
              </a:spcBef>
            </a:pP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What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would</a:t>
            </a:r>
            <a:r>
              <a:rPr sz="900" spc="-8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we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0">
                <a:solidFill>
                  <a:srgbClr val="4D4F53"/>
                </a:solidFill>
                <a:latin typeface="Trebuchet MS"/>
                <a:cs typeface="Trebuchet MS"/>
              </a:rPr>
              <a:t>do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differently,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in  order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to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reach</a:t>
            </a:r>
            <a:r>
              <a:rPr sz="900" spc="-7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the</a:t>
            </a:r>
            <a:r>
              <a:rPr sz="900" spc="-7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goal,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5">
                <a:solidFill>
                  <a:srgbClr val="4D4F53"/>
                </a:solidFill>
                <a:latin typeface="Trebuchet MS"/>
                <a:cs typeface="Trebuchet MS"/>
              </a:rPr>
              <a:t>if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we</a:t>
            </a:r>
            <a:r>
              <a:rPr sz="900" spc="-7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had 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more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relevant</a:t>
            </a:r>
            <a:r>
              <a:rPr sz="900" spc="-12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0">
                <a:solidFill>
                  <a:srgbClr val="4D4F53"/>
                </a:solidFill>
                <a:latin typeface="Trebuchet MS"/>
                <a:cs typeface="Trebuchet MS"/>
              </a:rPr>
              <a:t>insight?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24" name="object 24"/>
          <p:cNvSpPr txBox="1"/>
          <p:nvPr>
            <p:custDataLst>
              <p:tags r:id="rId6"/>
            </p:custDataLst>
          </p:nvPr>
        </p:nvSpPr>
        <p:spPr>
          <a:xfrm>
            <a:off x="9742233" y="2351023"/>
            <a:ext cx="142684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68275" marR="5080" indent="-155575">
              <a:lnSpc>
                <a:spcPct val="102200"/>
              </a:lnSpc>
              <a:spcBef>
                <a:spcPts val="75"/>
              </a:spcBef>
            </a:pP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What</a:t>
            </a:r>
            <a:r>
              <a:rPr sz="900" spc="-8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strategic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goal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should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we 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leverage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data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to</a:t>
            </a:r>
            <a:r>
              <a:rPr sz="900" spc="-14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reach?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2147138" y="1846282"/>
            <a:ext cx="8340090" cy="4037329"/>
            <a:chOff x="2147138" y="1846282"/>
            <a:chExt cx="8340090" cy="4037329"/>
          </a:xfrm>
        </p:grpSpPr>
        <p:sp>
          <p:nvSpPr>
            <p:cNvPr id="26" name="object 26"/>
            <p:cNvSpPr/>
            <p:nvPr/>
          </p:nvSpPr>
          <p:spPr>
            <a:xfrm>
              <a:off x="2208275" y="1876013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4268254" y="1897882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328232" y="1928764"/>
              <a:ext cx="0" cy="301625"/>
            </a:xfrm>
            <a:custGeom>
              <a:avLst/>
              <a:gdLst/>
              <a:ahLst/>
              <a:cxnLst/>
              <a:rect l="l" t="t" r="r" b="b"/>
              <a:pathLst>
                <a:path h="301625">
                  <a:moveTo>
                    <a:pt x="0" y="301228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8378075" y="1874857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0458348" y="1882858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6C03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2175713" y="5508933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235703" y="5491324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6295682" y="5490699"/>
              <a:ext cx="0" cy="236854"/>
            </a:xfrm>
            <a:custGeom>
              <a:avLst/>
              <a:gdLst/>
              <a:ahLst/>
              <a:cxnLst/>
              <a:rect l="l" t="t" r="r" b="b"/>
              <a:pathLst>
                <a:path h="236854">
                  <a:moveTo>
                    <a:pt x="0" y="236353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8345525" y="5491324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0425785" y="5491324"/>
              <a:ext cx="0" cy="346075"/>
            </a:xfrm>
            <a:custGeom>
              <a:avLst/>
              <a:gdLst/>
              <a:ahLst/>
              <a:cxnLst/>
              <a:rect l="l" t="t" r="r" b="b"/>
              <a:pathLst>
                <a:path h="346075">
                  <a:moveTo>
                    <a:pt x="0" y="346042"/>
                  </a:moveTo>
                  <a:lnTo>
                    <a:pt x="1" y="0"/>
                  </a:lnTo>
                </a:path>
              </a:pathLst>
            </a:custGeom>
            <a:ln w="57150">
              <a:solidFill>
                <a:srgbClr val="29D5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3468852" y="4832095"/>
            <a:ext cx="1614170" cy="4432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2200"/>
              </a:lnSpc>
              <a:spcBef>
                <a:spcPts val="75"/>
              </a:spcBef>
            </a:pP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Conduct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specified analysis. Can</a:t>
            </a:r>
            <a:r>
              <a:rPr sz="900" spc="-204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be 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either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one-off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initiative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or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on-  going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analysis</a:t>
            </a:r>
            <a:r>
              <a:rPr sz="900" spc="-12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capability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1482953" y="4832095"/>
            <a:ext cx="1459865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635">
              <a:lnSpc>
                <a:spcPct val="102200"/>
              </a:lnSpc>
              <a:spcBef>
                <a:spcPts val="75"/>
              </a:spcBef>
            </a:pP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Collate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relevant </a:t>
            </a:r>
            <a:r>
              <a:rPr sz="900" spc="-60">
                <a:solidFill>
                  <a:srgbClr val="4D4F53"/>
                </a:solidFill>
                <a:latin typeface="Trebuchet MS"/>
                <a:cs typeface="Trebuchet MS"/>
              </a:rPr>
              <a:t>data,</a:t>
            </a:r>
            <a:r>
              <a:rPr sz="900" spc="-16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establish 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new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infrastructure </a:t>
            </a:r>
            <a:r>
              <a:rPr sz="900" spc="-55">
                <a:solidFill>
                  <a:srgbClr val="4D4F53"/>
                </a:solidFill>
                <a:latin typeface="Trebuchet MS"/>
                <a:cs typeface="Trebuchet MS"/>
              </a:rPr>
              <a:t>if</a:t>
            </a:r>
            <a:r>
              <a:rPr sz="900" spc="-18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necessary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578563" y="4832095"/>
            <a:ext cx="1515745" cy="4432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2200"/>
              </a:lnSpc>
              <a:spcBef>
                <a:spcPts val="75"/>
              </a:spcBef>
            </a:pP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Evaluate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generated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insight</a:t>
            </a:r>
            <a:r>
              <a:rPr sz="900" spc="-20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from 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both </a:t>
            </a:r>
            <a:r>
              <a:rPr sz="900" spc="-45">
                <a:solidFill>
                  <a:srgbClr val="4D4F53"/>
                </a:solidFill>
                <a:latin typeface="Trebuchet MS"/>
                <a:cs typeface="Trebuchet MS"/>
              </a:rPr>
              <a:t>a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technical-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and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business 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perspective. </a:t>
            </a:r>
            <a:r>
              <a:rPr sz="900" spc="-25">
                <a:solidFill>
                  <a:srgbClr val="4D4F53"/>
                </a:solidFill>
                <a:latin typeface="Trebuchet MS"/>
                <a:cs typeface="Trebuchet MS"/>
              </a:rPr>
              <a:t>Is </a:t>
            </a:r>
            <a:r>
              <a:rPr sz="900" spc="-55">
                <a:solidFill>
                  <a:srgbClr val="4D4F53"/>
                </a:solidFill>
                <a:latin typeface="Trebuchet MS"/>
                <a:cs typeface="Trebuchet MS"/>
              </a:rPr>
              <a:t>it</a:t>
            </a:r>
            <a:r>
              <a:rPr sz="900" spc="-16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20">
                <a:solidFill>
                  <a:srgbClr val="4D4F53"/>
                </a:solidFill>
                <a:latin typeface="Trebuchet MS"/>
                <a:cs typeface="Trebuchet MS"/>
              </a:rPr>
              <a:t>useful?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717091" y="4755895"/>
            <a:ext cx="1351280" cy="58356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2200"/>
              </a:lnSpc>
              <a:spcBef>
                <a:spcPts val="75"/>
              </a:spcBef>
            </a:pP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Re-engineer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processes and 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organization toward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data 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driven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40">
                <a:solidFill>
                  <a:srgbClr val="4D4F53"/>
                </a:solidFill>
                <a:latin typeface="Trebuchet MS"/>
                <a:cs typeface="Trebuchet MS"/>
              </a:rPr>
              <a:t>actions</a:t>
            </a:r>
            <a:r>
              <a:rPr sz="900" spc="-9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based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15">
                <a:solidFill>
                  <a:srgbClr val="4D4F53"/>
                </a:solidFill>
                <a:latin typeface="Trebuchet MS"/>
                <a:cs typeface="Trebuchet MS"/>
              </a:rPr>
              <a:t>on</a:t>
            </a:r>
            <a:r>
              <a:rPr sz="900" spc="-9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new 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insight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9767049" y="4829047"/>
            <a:ext cx="1375410" cy="3028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15900" marR="5080" indent="-203200">
              <a:lnSpc>
                <a:spcPct val="102200"/>
              </a:lnSpc>
              <a:spcBef>
                <a:spcPts val="75"/>
              </a:spcBef>
            </a:pPr>
            <a:r>
              <a:rPr sz="900" spc="-15">
                <a:solidFill>
                  <a:srgbClr val="4D4F53"/>
                </a:solidFill>
                <a:latin typeface="Trebuchet MS"/>
                <a:cs typeface="Trebuchet MS"/>
              </a:rPr>
              <a:t>Measure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and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assess</a:t>
            </a:r>
            <a:r>
              <a:rPr sz="900" spc="-175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0">
                <a:solidFill>
                  <a:srgbClr val="4D4F53"/>
                </a:solidFill>
                <a:latin typeface="Trebuchet MS"/>
                <a:cs typeface="Trebuchet MS"/>
              </a:rPr>
              <a:t>business  </a:t>
            </a:r>
            <a:r>
              <a:rPr sz="900" spc="-50">
                <a:solidFill>
                  <a:srgbClr val="4D4F53"/>
                </a:solidFill>
                <a:latin typeface="Trebuchet MS"/>
                <a:cs typeface="Trebuchet MS"/>
              </a:rPr>
              <a:t>impact</a:t>
            </a:r>
            <a:r>
              <a:rPr sz="900" spc="-80">
                <a:solidFill>
                  <a:srgbClr val="4D4F53"/>
                </a:solidFill>
                <a:latin typeface="Trebuchet MS"/>
                <a:cs typeface="Trebuchet MS"/>
              </a:rPr>
              <a:t> </a:t>
            </a:r>
            <a:r>
              <a:rPr sz="900" spc="-35">
                <a:solidFill>
                  <a:srgbClr val="4D4F53"/>
                </a:solidFill>
                <a:latin typeface="Trebuchet MS"/>
                <a:cs typeface="Trebuchet MS"/>
              </a:rPr>
              <a:t>continuously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1" name="object 41"/>
          <p:cNvSpPr txBox="1"/>
          <p:nvPr>
            <p:custDataLst>
              <p:tags r:id="rId7"/>
            </p:custDataLst>
          </p:nvPr>
        </p:nvSpPr>
        <p:spPr>
          <a:xfrm>
            <a:off x="11314721" y="2149347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2" name="object 42"/>
          <p:cNvSpPr txBox="1"/>
          <p:nvPr>
            <p:custDataLst>
              <p:tags r:id="rId8"/>
            </p:custDataLst>
          </p:nvPr>
        </p:nvSpPr>
        <p:spPr>
          <a:xfrm>
            <a:off x="9249702" y="2149347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3" name="object 43"/>
          <p:cNvSpPr txBox="1"/>
          <p:nvPr>
            <p:custDataLst>
              <p:tags r:id="rId9"/>
            </p:custDataLst>
          </p:nvPr>
        </p:nvSpPr>
        <p:spPr>
          <a:xfrm>
            <a:off x="7193889" y="2149347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4" name="object 44"/>
          <p:cNvSpPr txBox="1"/>
          <p:nvPr>
            <p:custDataLst>
              <p:tags r:id="rId10"/>
            </p:custDataLst>
          </p:nvPr>
        </p:nvSpPr>
        <p:spPr>
          <a:xfrm>
            <a:off x="5128869" y="2149347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4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5" name="object 45"/>
          <p:cNvSpPr txBox="1"/>
          <p:nvPr>
            <p:custDataLst>
              <p:tags r:id="rId11"/>
            </p:custDataLst>
          </p:nvPr>
        </p:nvSpPr>
        <p:spPr>
          <a:xfrm>
            <a:off x="3081375" y="2134107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5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9378772" y="4651755"/>
            <a:ext cx="23177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10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363473" y="4651755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9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296585" y="4651755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8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29698" y="4651755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7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162810" y="4651755"/>
            <a:ext cx="12890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130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endParaRPr sz="1600">
              <a:latin typeface="Trebuchet MS"/>
              <a:cs typeface="Trebuchet MS"/>
            </a:endParaRPr>
          </a:p>
        </p:txBody>
      </p:sp>
      <p:sp>
        <p:nvSpPr>
          <p:cNvPr id="51" name="object 51"/>
          <p:cNvSpPr txBox="1"/>
          <p:nvPr>
            <p:custDataLst>
              <p:tags r:id="rId12"/>
            </p:custDataLst>
          </p:nvPr>
        </p:nvSpPr>
        <p:spPr>
          <a:xfrm>
            <a:off x="1972182" y="3233420"/>
            <a:ext cx="47053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5">
                <a:solidFill>
                  <a:srgbClr val="4D4F53"/>
                </a:solidFill>
                <a:latin typeface="Trebuchet MS"/>
                <a:cs typeface="Trebuchet MS"/>
              </a:rPr>
              <a:t>D</a:t>
            </a:r>
            <a:r>
              <a:rPr sz="1800" b="1" spc="-6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800" b="1" spc="-110">
                <a:solidFill>
                  <a:srgbClr val="4D4F53"/>
                </a:solidFill>
                <a:latin typeface="Trebuchet MS"/>
                <a:cs typeface="Trebuchet MS"/>
              </a:rPr>
              <a:t>t</a:t>
            </a:r>
            <a:r>
              <a:rPr sz="1800" b="1" spc="-7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endParaRPr sz="1800">
              <a:latin typeface="Trebuchet MS"/>
              <a:cs typeface="Trebuchet MS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104670" y="2728341"/>
            <a:ext cx="4547870" cy="2434590"/>
            <a:chOff x="104670" y="2728341"/>
            <a:chExt cx="4547870" cy="2434590"/>
          </a:xfrm>
        </p:grpSpPr>
        <p:sp>
          <p:nvSpPr>
            <p:cNvPr id="53" name="object 53"/>
            <p:cNvSpPr/>
            <p:nvPr/>
          </p:nvSpPr>
          <p:spPr>
            <a:xfrm>
              <a:off x="4200613" y="3640886"/>
              <a:ext cx="46990" cy="106680"/>
            </a:xfrm>
            <a:custGeom>
              <a:avLst/>
              <a:gdLst/>
              <a:ahLst/>
              <a:cxnLst/>
              <a:rect l="l" t="t" r="r" b="b"/>
              <a:pathLst>
                <a:path w="46989" h="106679">
                  <a:moveTo>
                    <a:pt x="46507" y="0"/>
                  </a:moveTo>
                  <a:lnTo>
                    <a:pt x="26581" y="0"/>
                  </a:lnTo>
                  <a:lnTo>
                    <a:pt x="0" y="14008"/>
                  </a:lnTo>
                  <a:lnTo>
                    <a:pt x="4419" y="31915"/>
                  </a:lnTo>
                  <a:lnTo>
                    <a:pt x="22885" y="22580"/>
                  </a:lnTo>
                  <a:lnTo>
                    <a:pt x="22885" y="106641"/>
                  </a:lnTo>
                  <a:lnTo>
                    <a:pt x="46507" y="106641"/>
                  </a:lnTo>
                  <a:lnTo>
                    <a:pt x="46507" y="0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4278134" y="3640886"/>
              <a:ext cx="139560" cy="108953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4448708" y="3640886"/>
              <a:ext cx="75311" cy="108953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3857256" y="3640886"/>
              <a:ext cx="44450" cy="106680"/>
            </a:xfrm>
            <a:custGeom>
              <a:avLst/>
              <a:gdLst/>
              <a:ahLst/>
              <a:cxnLst/>
              <a:rect l="l" t="t" r="r" b="b"/>
              <a:pathLst>
                <a:path w="44450" h="106679">
                  <a:moveTo>
                    <a:pt x="44310" y="0"/>
                  </a:moveTo>
                  <a:lnTo>
                    <a:pt x="25425" y="0"/>
                  </a:lnTo>
                  <a:lnTo>
                    <a:pt x="0" y="14008"/>
                  </a:lnTo>
                  <a:lnTo>
                    <a:pt x="2908" y="31915"/>
                  </a:lnTo>
                  <a:lnTo>
                    <a:pt x="22517" y="22580"/>
                  </a:lnTo>
                  <a:lnTo>
                    <a:pt x="22517" y="106641"/>
                  </a:lnTo>
                  <a:lnTo>
                    <a:pt x="44310" y="106641"/>
                  </a:lnTo>
                  <a:lnTo>
                    <a:pt x="44310" y="0"/>
                  </a:lnTo>
                  <a:close/>
                </a:path>
              </a:pathLst>
            </a:custGeom>
            <a:solidFill>
              <a:srgbClr val="4D4F5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3934790" y="3640886"/>
              <a:ext cx="139547" cy="108953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4105351" y="3640886"/>
              <a:ext cx="75323" cy="108953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848404" y="3833304"/>
              <a:ext cx="804087" cy="493788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633412" y="2728341"/>
              <a:ext cx="377869" cy="2434551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109432" y="3640061"/>
              <a:ext cx="1407160" cy="984885"/>
            </a:xfrm>
            <a:custGeom>
              <a:avLst/>
              <a:gdLst/>
              <a:ahLst/>
              <a:cxnLst/>
              <a:rect l="l" t="t" r="r" b="b"/>
              <a:pathLst>
                <a:path w="1407160" h="984885">
                  <a:moveTo>
                    <a:pt x="1172466" y="810742"/>
                  </a:moveTo>
                  <a:lnTo>
                    <a:pt x="820730" y="810742"/>
                  </a:lnTo>
                  <a:lnTo>
                    <a:pt x="1163742" y="984796"/>
                  </a:lnTo>
                  <a:lnTo>
                    <a:pt x="1172466" y="810742"/>
                  </a:lnTo>
                  <a:close/>
                </a:path>
                <a:path w="1407160" h="984885">
                  <a:moveTo>
                    <a:pt x="1271844" y="0"/>
                  </a:moveTo>
                  <a:lnTo>
                    <a:pt x="135125" y="0"/>
                  </a:lnTo>
                  <a:lnTo>
                    <a:pt x="92415" y="6888"/>
                  </a:lnTo>
                  <a:lnTo>
                    <a:pt x="55322" y="26069"/>
                  </a:lnTo>
                  <a:lnTo>
                    <a:pt x="26071" y="55319"/>
                  </a:lnTo>
                  <a:lnTo>
                    <a:pt x="6888" y="92413"/>
                  </a:lnTo>
                  <a:lnTo>
                    <a:pt x="0" y="135127"/>
                  </a:lnTo>
                  <a:lnTo>
                    <a:pt x="0" y="675614"/>
                  </a:lnTo>
                  <a:lnTo>
                    <a:pt x="6888" y="718323"/>
                  </a:lnTo>
                  <a:lnTo>
                    <a:pt x="26071" y="755417"/>
                  </a:lnTo>
                  <a:lnTo>
                    <a:pt x="55322" y="784669"/>
                  </a:lnTo>
                  <a:lnTo>
                    <a:pt x="92415" y="803853"/>
                  </a:lnTo>
                  <a:lnTo>
                    <a:pt x="135125" y="810742"/>
                  </a:lnTo>
                  <a:lnTo>
                    <a:pt x="1271844" y="810742"/>
                  </a:lnTo>
                  <a:lnTo>
                    <a:pt x="1314553" y="803853"/>
                  </a:lnTo>
                  <a:lnTo>
                    <a:pt x="1351647" y="784669"/>
                  </a:lnTo>
                  <a:lnTo>
                    <a:pt x="1380899" y="755417"/>
                  </a:lnTo>
                  <a:lnTo>
                    <a:pt x="1400083" y="718323"/>
                  </a:lnTo>
                  <a:lnTo>
                    <a:pt x="1406972" y="675614"/>
                  </a:lnTo>
                  <a:lnTo>
                    <a:pt x="1406972" y="135127"/>
                  </a:lnTo>
                  <a:lnTo>
                    <a:pt x="1400083" y="92413"/>
                  </a:lnTo>
                  <a:lnTo>
                    <a:pt x="1380899" y="55319"/>
                  </a:lnTo>
                  <a:lnTo>
                    <a:pt x="1351647" y="26069"/>
                  </a:lnTo>
                  <a:lnTo>
                    <a:pt x="1314553" y="6888"/>
                  </a:lnTo>
                  <a:lnTo>
                    <a:pt x="12718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109432" y="3640061"/>
              <a:ext cx="1407160" cy="984885"/>
            </a:xfrm>
            <a:custGeom>
              <a:avLst/>
              <a:gdLst/>
              <a:ahLst/>
              <a:cxnLst/>
              <a:rect l="l" t="t" r="r" b="b"/>
              <a:pathLst>
                <a:path w="1407160" h="984885">
                  <a:moveTo>
                    <a:pt x="0" y="135125"/>
                  </a:moveTo>
                  <a:lnTo>
                    <a:pt x="6888" y="92415"/>
                  </a:lnTo>
                  <a:lnTo>
                    <a:pt x="26071" y="55322"/>
                  </a:lnTo>
                  <a:lnTo>
                    <a:pt x="55321" y="26071"/>
                  </a:lnTo>
                  <a:lnTo>
                    <a:pt x="92415" y="6888"/>
                  </a:lnTo>
                  <a:lnTo>
                    <a:pt x="135125" y="0"/>
                  </a:lnTo>
                  <a:lnTo>
                    <a:pt x="820731" y="0"/>
                  </a:lnTo>
                  <a:lnTo>
                    <a:pt x="1172470" y="0"/>
                  </a:lnTo>
                  <a:lnTo>
                    <a:pt x="1271840" y="0"/>
                  </a:lnTo>
                  <a:lnTo>
                    <a:pt x="1314552" y="6888"/>
                  </a:lnTo>
                  <a:lnTo>
                    <a:pt x="1351646" y="26071"/>
                  </a:lnTo>
                  <a:lnTo>
                    <a:pt x="1380898" y="55322"/>
                  </a:lnTo>
                  <a:lnTo>
                    <a:pt x="1400081" y="92415"/>
                  </a:lnTo>
                  <a:lnTo>
                    <a:pt x="1406970" y="135125"/>
                  </a:lnTo>
                  <a:lnTo>
                    <a:pt x="1406970" y="472930"/>
                  </a:lnTo>
                  <a:lnTo>
                    <a:pt x="1406970" y="675616"/>
                  </a:lnTo>
                  <a:lnTo>
                    <a:pt x="1400081" y="718323"/>
                  </a:lnTo>
                  <a:lnTo>
                    <a:pt x="1380898" y="755416"/>
                  </a:lnTo>
                  <a:lnTo>
                    <a:pt x="1351646" y="784667"/>
                  </a:lnTo>
                  <a:lnTo>
                    <a:pt x="1314552" y="803849"/>
                  </a:lnTo>
                  <a:lnTo>
                    <a:pt x="1271840" y="810738"/>
                  </a:lnTo>
                  <a:lnTo>
                    <a:pt x="1172470" y="810738"/>
                  </a:lnTo>
                  <a:lnTo>
                    <a:pt x="1163750" y="984804"/>
                  </a:lnTo>
                  <a:lnTo>
                    <a:pt x="820731" y="810738"/>
                  </a:lnTo>
                  <a:lnTo>
                    <a:pt x="135125" y="810738"/>
                  </a:lnTo>
                  <a:lnTo>
                    <a:pt x="92415" y="803849"/>
                  </a:lnTo>
                  <a:lnTo>
                    <a:pt x="55321" y="784667"/>
                  </a:lnTo>
                  <a:lnTo>
                    <a:pt x="26071" y="755416"/>
                  </a:lnTo>
                  <a:lnTo>
                    <a:pt x="6888" y="718323"/>
                  </a:lnTo>
                  <a:lnTo>
                    <a:pt x="0" y="675613"/>
                  </a:lnTo>
                  <a:lnTo>
                    <a:pt x="0" y="472930"/>
                  </a:lnTo>
                  <a:lnTo>
                    <a:pt x="0" y="135125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>
            <p:custDataLst>
              <p:tags r:id="rId13"/>
            </p:custDataLst>
          </p:nvPr>
        </p:nvSpPr>
        <p:spPr>
          <a:xfrm>
            <a:off x="3791940" y="3233420"/>
            <a:ext cx="8572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80">
                <a:solidFill>
                  <a:srgbClr val="4D4F53"/>
                </a:solidFill>
                <a:latin typeface="Trebuchet MS"/>
                <a:cs typeface="Trebuchet MS"/>
              </a:rPr>
              <a:t>Ana</a:t>
            </a:r>
            <a:r>
              <a:rPr sz="1800" b="1" spc="-95">
                <a:solidFill>
                  <a:srgbClr val="4D4F53"/>
                </a:solidFill>
                <a:latin typeface="Trebuchet MS"/>
                <a:cs typeface="Trebuchet MS"/>
              </a:rPr>
              <a:t>l</a:t>
            </a:r>
            <a:r>
              <a:rPr sz="1800" b="1" spc="-125">
                <a:solidFill>
                  <a:srgbClr val="4D4F53"/>
                </a:solidFill>
                <a:latin typeface="Trebuchet MS"/>
                <a:cs typeface="Trebuchet MS"/>
              </a:rPr>
              <a:t>y</a:t>
            </a:r>
            <a:r>
              <a:rPr sz="1800" b="1" spc="-65">
                <a:solidFill>
                  <a:srgbClr val="4D4F53"/>
                </a:solidFill>
                <a:latin typeface="Trebuchet MS"/>
                <a:cs typeface="Trebuchet MS"/>
              </a:rPr>
              <a:t>s</a:t>
            </a:r>
            <a:r>
              <a:rPr sz="1800" b="1" spc="-140">
                <a:solidFill>
                  <a:srgbClr val="4D4F53"/>
                </a:solidFill>
                <a:latin typeface="Trebuchet MS"/>
                <a:cs typeface="Trebuchet MS"/>
              </a:rPr>
              <a:t>e</a:t>
            </a:r>
            <a:r>
              <a:rPr sz="1800" b="1" spc="-60">
                <a:solidFill>
                  <a:srgbClr val="4D4F53"/>
                </a:solidFill>
                <a:latin typeface="Trebuchet MS"/>
                <a:cs typeface="Trebuchet MS"/>
              </a:rPr>
              <a:t>s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64" name="object 64"/>
          <p:cNvSpPr txBox="1"/>
          <p:nvPr>
            <p:custDataLst>
              <p:tags r:id="rId14"/>
            </p:custDataLst>
          </p:nvPr>
        </p:nvSpPr>
        <p:spPr>
          <a:xfrm>
            <a:off x="5972670" y="3236467"/>
            <a:ext cx="6616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85">
                <a:solidFill>
                  <a:srgbClr val="4D4F53"/>
                </a:solidFill>
                <a:latin typeface="Trebuchet MS"/>
                <a:cs typeface="Trebuchet MS"/>
              </a:rPr>
              <a:t>Insight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65" name="object 65"/>
          <p:cNvSpPr txBox="1"/>
          <p:nvPr>
            <p:custDataLst>
              <p:tags r:id="rId15"/>
            </p:custDataLst>
          </p:nvPr>
        </p:nvSpPr>
        <p:spPr>
          <a:xfrm>
            <a:off x="8059001" y="3233420"/>
            <a:ext cx="6394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14">
                <a:solidFill>
                  <a:srgbClr val="4D4F53"/>
                </a:solidFill>
                <a:latin typeface="Trebuchet MS"/>
                <a:cs typeface="Trebuchet MS"/>
              </a:rPr>
              <a:t>Ac</a:t>
            </a:r>
            <a:r>
              <a:rPr sz="1800" b="1" spc="-90">
                <a:solidFill>
                  <a:srgbClr val="4D4F53"/>
                </a:solidFill>
                <a:latin typeface="Trebuchet MS"/>
                <a:cs typeface="Trebuchet MS"/>
              </a:rPr>
              <a:t>t</a:t>
            </a:r>
            <a:r>
              <a:rPr sz="1800" b="1" spc="-100">
                <a:solidFill>
                  <a:srgbClr val="4D4F53"/>
                </a:solidFill>
                <a:latin typeface="Trebuchet MS"/>
                <a:cs typeface="Trebuchet MS"/>
              </a:rPr>
              <a:t>i</a:t>
            </a:r>
            <a:r>
              <a:rPr sz="1800" b="1" spc="-60">
                <a:solidFill>
                  <a:srgbClr val="4D4F53"/>
                </a:solidFill>
                <a:latin typeface="Trebuchet MS"/>
                <a:cs typeface="Trebuchet MS"/>
              </a:rPr>
              <a:t>o</a:t>
            </a:r>
            <a:r>
              <a:rPr sz="1800" b="1" spc="-100">
                <a:solidFill>
                  <a:srgbClr val="4D4F53"/>
                </a:solidFill>
                <a:latin typeface="Trebuchet MS"/>
                <a:cs typeface="Trebuchet MS"/>
              </a:rPr>
              <a:t>n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66" name="object 66"/>
          <p:cNvSpPr txBox="1"/>
          <p:nvPr>
            <p:custDataLst>
              <p:tags r:id="rId16"/>
            </p:custDataLst>
          </p:nvPr>
        </p:nvSpPr>
        <p:spPr>
          <a:xfrm>
            <a:off x="10203192" y="3233420"/>
            <a:ext cx="55372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75">
                <a:solidFill>
                  <a:srgbClr val="4D4F53"/>
                </a:solidFill>
                <a:latin typeface="Trebuchet MS"/>
                <a:cs typeface="Trebuchet MS"/>
              </a:rPr>
              <a:t>V</a:t>
            </a:r>
            <a:r>
              <a:rPr sz="1800" b="1" spc="-65">
                <a:solidFill>
                  <a:srgbClr val="4D4F53"/>
                </a:solidFill>
                <a:latin typeface="Trebuchet MS"/>
                <a:cs typeface="Trebuchet MS"/>
              </a:rPr>
              <a:t>a</a:t>
            </a:r>
            <a:r>
              <a:rPr sz="1800" b="1" spc="-95">
                <a:solidFill>
                  <a:srgbClr val="4D4F53"/>
                </a:solidFill>
                <a:latin typeface="Trebuchet MS"/>
                <a:cs typeface="Trebuchet MS"/>
              </a:rPr>
              <a:t>l</a:t>
            </a:r>
            <a:r>
              <a:rPr sz="1800" b="1" spc="-105">
                <a:solidFill>
                  <a:srgbClr val="4D4F53"/>
                </a:solidFill>
                <a:latin typeface="Trebuchet MS"/>
                <a:cs typeface="Trebuchet MS"/>
              </a:rPr>
              <a:t>u</a:t>
            </a:r>
            <a:r>
              <a:rPr sz="1800" b="1" spc="-130">
                <a:solidFill>
                  <a:srgbClr val="4D4F53"/>
                </a:solidFill>
                <a:latin typeface="Trebuchet MS"/>
                <a:cs typeface="Trebuchet MS"/>
              </a:rPr>
              <a:t>e</a:t>
            </a:r>
            <a:endParaRPr sz="1800">
              <a:latin typeface="Trebuchet MS"/>
              <a:cs typeface="Trebuchet MS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18747" y="3805428"/>
            <a:ext cx="1188085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45415" marR="5080" indent="-133350">
              <a:lnSpc>
                <a:spcPct val="101400"/>
              </a:lnSpc>
              <a:spcBef>
                <a:spcPts val="75"/>
              </a:spcBef>
            </a:pPr>
            <a:r>
              <a:rPr sz="1400" spc="-65">
                <a:latin typeface="Trebuchet MS"/>
                <a:cs typeface="Trebuchet MS"/>
              </a:rPr>
              <a:t>Implementation  starts</a:t>
            </a:r>
            <a:r>
              <a:rPr sz="1400" spc="-125">
                <a:latin typeface="Trebuchet MS"/>
                <a:cs typeface="Trebuchet MS"/>
              </a:rPr>
              <a:t> </a:t>
            </a:r>
            <a:r>
              <a:rPr sz="1400" spc="-65">
                <a:latin typeface="Trebuchet MS"/>
                <a:cs typeface="Trebuchet MS"/>
              </a:rPr>
              <a:t>here…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68" name="object 68"/>
          <p:cNvGrpSpPr/>
          <p:nvPr/>
        </p:nvGrpSpPr>
        <p:grpSpPr>
          <a:xfrm>
            <a:off x="9453562" y="1179982"/>
            <a:ext cx="2234565" cy="953769"/>
            <a:chOff x="9453562" y="1179982"/>
            <a:chExt cx="2234565" cy="953769"/>
          </a:xfrm>
        </p:grpSpPr>
        <p:sp>
          <p:nvSpPr>
            <p:cNvPr id="69" name="object 69"/>
            <p:cNvSpPr/>
            <p:nvPr/>
          </p:nvSpPr>
          <p:spPr>
            <a:xfrm>
              <a:off x="9458325" y="1184744"/>
              <a:ext cx="2225040" cy="944244"/>
            </a:xfrm>
            <a:custGeom>
              <a:avLst/>
              <a:gdLst/>
              <a:ahLst/>
              <a:cxnLst/>
              <a:rect l="l" t="t" r="r" b="b"/>
              <a:pathLst>
                <a:path w="2225040" h="944244">
                  <a:moveTo>
                    <a:pt x="1853819" y="787971"/>
                  </a:moveTo>
                  <a:lnTo>
                    <a:pt x="1297673" y="787971"/>
                  </a:lnTo>
                  <a:lnTo>
                    <a:pt x="1811566" y="944219"/>
                  </a:lnTo>
                  <a:lnTo>
                    <a:pt x="1853819" y="787971"/>
                  </a:lnTo>
                  <a:close/>
                </a:path>
                <a:path w="2225040" h="944244">
                  <a:moveTo>
                    <a:pt x="2093264" y="0"/>
                  </a:moveTo>
                  <a:lnTo>
                    <a:pt x="131330" y="0"/>
                  </a:lnTo>
                  <a:lnTo>
                    <a:pt x="80211" y="10319"/>
                  </a:lnTo>
                  <a:lnTo>
                    <a:pt x="38466" y="38461"/>
                  </a:lnTo>
                  <a:lnTo>
                    <a:pt x="10320" y="80206"/>
                  </a:lnTo>
                  <a:lnTo>
                    <a:pt x="0" y="131330"/>
                  </a:lnTo>
                  <a:lnTo>
                    <a:pt x="0" y="656640"/>
                  </a:lnTo>
                  <a:lnTo>
                    <a:pt x="10320" y="707759"/>
                  </a:lnTo>
                  <a:lnTo>
                    <a:pt x="38466" y="749504"/>
                  </a:lnTo>
                  <a:lnTo>
                    <a:pt x="80211" y="777650"/>
                  </a:lnTo>
                  <a:lnTo>
                    <a:pt x="131330" y="787971"/>
                  </a:lnTo>
                  <a:lnTo>
                    <a:pt x="2093264" y="787971"/>
                  </a:lnTo>
                  <a:lnTo>
                    <a:pt x="2144381" y="777650"/>
                  </a:lnTo>
                  <a:lnTo>
                    <a:pt x="2186122" y="749504"/>
                  </a:lnTo>
                  <a:lnTo>
                    <a:pt x="2214263" y="707759"/>
                  </a:lnTo>
                  <a:lnTo>
                    <a:pt x="2224582" y="656640"/>
                  </a:lnTo>
                  <a:lnTo>
                    <a:pt x="2224582" y="131330"/>
                  </a:lnTo>
                  <a:lnTo>
                    <a:pt x="2214263" y="80206"/>
                  </a:lnTo>
                  <a:lnTo>
                    <a:pt x="2186122" y="38461"/>
                  </a:lnTo>
                  <a:lnTo>
                    <a:pt x="2144381" y="10319"/>
                  </a:lnTo>
                  <a:lnTo>
                    <a:pt x="20932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9458325" y="1184744"/>
              <a:ext cx="2225040" cy="944244"/>
            </a:xfrm>
            <a:custGeom>
              <a:avLst/>
              <a:gdLst/>
              <a:ahLst/>
              <a:cxnLst/>
              <a:rect l="l" t="t" r="r" b="b"/>
              <a:pathLst>
                <a:path w="2225040" h="944244">
                  <a:moveTo>
                    <a:pt x="0" y="131330"/>
                  </a:moveTo>
                  <a:lnTo>
                    <a:pt x="10320" y="80210"/>
                  </a:lnTo>
                  <a:lnTo>
                    <a:pt x="38465" y="38465"/>
                  </a:lnTo>
                  <a:lnTo>
                    <a:pt x="80210" y="10320"/>
                  </a:lnTo>
                  <a:lnTo>
                    <a:pt x="131330" y="0"/>
                  </a:lnTo>
                  <a:lnTo>
                    <a:pt x="1297680" y="0"/>
                  </a:lnTo>
                  <a:lnTo>
                    <a:pt x="1853831" y="0"/>
                  </a:lnTo>
                  <a:lnTo>
                    <a:pt x="2093261" y="0"/>
                  </a:lnTo>
                  <a:lnTo>
                    <a:pt x="2144380" y="10320"/>
                  </a:lnTo>
                  <a:lnTo>
                    <a:pt x="2186124" y="38465"/>
                  </a:lnTo>
                  <a:lnTo>
                    <a:pt x="2214270" y="80210"/>
                  </a:lnTo>
                  <a:lnTo>
                    <a:pt x="2224591" y="131330"/>
                  </a:lnTo>
                  <a:lnTo>
                    <a:pt x="2224591" y="459650"/>
                  </a:lnTo>
                  <a:lnTo>
                    <a:pt x="2224591" y="656642"/>
                  </a:lnTo>
                  <a:lnTo>
                    <a:pt x="2214270" y="707760"/>
                  </a:lnTo>
                  <a:lnTo>
                    <a:pt x="2186124" y="749504"/>
                  </a:lnTo>
                  <a:lnTo>
                    <a:pt x="2144380" y="777649"/>
                  </a:lnTo>
                  <a:lnTo>
                    <a:pt x="2093261" y="787970"/>
                  </a:lnTo>
                  <a:lnTo>
                    <a:pt x="1853831" y="787970"/>
                  </a:lnTo>
                  <a:lnTo>
                    <a:pt x="1811571" y="944224"/>
                  </a:lnTo>
                  <a:lnTo>
                    <a:pt x="1297680" y="787970"/>
                  </a:lnTo>
                  <a:lnTo>
                    <a:pt x="131330" y="787970"/>
                  </a:lnTo>
                  <a:lnTo>
                    <a:pt x="80210" y="777649"/>
                  </a:lnTo>
                  <a:lnTo>
                    <a:pt x="38465" y="749504"/>
                  </a:lnTo>
                  <a:lnTo>
                    <a:pt x="10320" y="707760"/>
                  </a:lnTo>
                  <a:lnTo>
                    <a:pt x="0" y="656640"/>
                  </a:lnTo>
                  <a:lnTo>
                    <a:pt x="0" y="459650"/>
                  </a:lnTo>
                  <a:lnTo>
                    <a:pt x="0" y="13133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9572243" y="1339596"/>
            <a:ext cx="1996439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indent="229870">
              <a:lnSpc>
                <a:spcPct val="101400"/>
              </a:lnSpc>
              <a:spcBef>
                <a:spcPts val="75"/>
              </a:spcBef>
            </a:pPr>
            <a:r>
              <a:rPr sz="1400" spc="-60">
                <a:latin typeface="Trebuchet MS"/>
                <a:cs typeface="Trebuchet MS"/>
              </a:rPr>
              <a:t>…but successful </a:t>
            </a:r>
            <a:r>
              <a:rPr sz="1400" spc="-20">
                <a:latin typeface="Trebuchet MS"/>
                <a:cs typeface="Trebuchet MS"/>
              </a:rPr>
              <a:t>D&amp;A  </a:t>
            </a:r>
            <a:r>
              <a:rPr sz="1400" spc="-70">
                <a:latin typeface="Trebuchet MS"/>
                <a:cs typeface="Trebuchet MS"/>
              </a:rPr>
              <a:t>initiatives </a:t>
            </a:r>
            <a:r>
              <a:rPr sz="1400" spc="-40">
                <a:latin typeface="Trebuchet MS"/>
                <a:cs typeface="Trebuchet MS"/>
              </a:rPr>
              <a:t>should </a:t>
            </a:r>
            <a:r>
              <a:rPr sz="1400" spc="-70">
                <a:latin typeface="Trebuchet MS"/>
                <a:cs typeface="Trebuchet MS"/>
              </a:rPr>
              <a:t>start</a:t>
            </a:r>
            <a:r>
              <a:rPr sz="1400" spc="-260">
                <a:latin typeface="Trebuchet MS"/>
                <a:cs typeface="Trebuchet MS"/>
              </a:rPr>
              <a:t> </a:t>
            </a:r>
            <a:r>
              <a:rPr sz="1400" spc="-60">
                <a:latin typeface="Trebuchet MS"/>
                <a:cs typeface="Trebuchet MS"/>
              </a:rPr>
              <a:t>here</a:t>
            </a:r>
            <a:endParaRPr sz="14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1187" y="2857500"/>
            <a:ext cx="524065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spc="-5">
                <a:solidFill>
                  <a:srgbClr val="FFFFFF"/>
                </a:solidFill>
              </a:rPr>
              <a:t>ML </a:t>
            </a:r>
            <a:r>
              <a:rPr sz="4400" spc="-235">
                <a:solidFill>
                  <a:srgbClr val="FFFFFF"/>
                </a:solidFill>
              </a:rPr>
              <a:t>use </a:t>
            </a:r>
            <a:r>
              <a:rPr sz="4400" spc="-270">
                <a:solidFill>
                  <a:srgbClr val="FFFFFF"/>
                </a:solidFill>
              </a:rPr>
              <a:t>case</a:t>
            </a:r>
            <a:r>
              <a:rPr sz="4400" spc="-795">
                <a:solidFill>
                  <a:srgbClr val="FFFFFF"/>
                </a:solidFill>
              </a:rPr>
              <a:t> </a:t>
            </a:r>
            <a:r>
              <a:rPr sz="4400" spc="-220">
                <a:solidFill>
                  <a:srgbClr val="FFFFFF"/>
                </a:solidFill>
              </a:rPr>
              <a:t>workshop</a:t>
            </a:r>
            <a:endParaRPr sz="440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UBAQEBAQEBAQEBAQEBAQMAAAAAAAAAAwAAAAMAAAAA/////wUAqgsAAAAAAAAAAAAAIAD///////////////8AAAD///////////////8DAAAAAgD///////8DAAAAAgD///////8DAAAAAgD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/qkxAc7MEBFsYdOcL3ia5oEAAAAAAADAAAAAAADAAAAAwADAAAAAAADAAAAAwADAAAAAAADAAAAAwADAAAAAAADAAAAAwADAAYA////////BQAAAAMAEAALqyO5CDL/40eOOGC0YRUxEQQAAAABAAMAAAACAAMAAAAEAAMAAAACAAMAAAAEAAMAAAACAP///////wMAAAACAP///////wMAAAAAAP///////wMAAAAAAP///////wQAAgD///////8FAAAABAAQAAsyXgw4J1x0RJPJWxdjAlTc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+qTEBzswQEWxh05wveJrmgNEYXRhAFMAAAAIUHJlc2VudGF0aW9uU2Nhbm5lZEZvckxpbmtlZFNoYXBlcwAAAk51bWJlckZvcm1hdFNlcGFyYXRvck1vZGUACgAAAEF1dG9tYXRpYwAAAk5hbWUAJAAAAExpbmtlZFNoYXBlUHJlc2VudGF0aW9uU2V0dGluZ3NEYXRhABBWZXJzaW9uAAAAAAAJTGFzdFdyaXRlAGkZDNGKAQAAAAEA/////4MAgwAAAAVfaWQAEAAAAASrI7kIMv/jR444YLRhFTERA0RhdGEAGwAAAARMaW5rZWRTaGFwZURhdGEABQAAAAAAAk5hbWUAGQAAAExpbmtlZFNoYXBlc0RhdGFQcm9wZXJ0eQAQVmVyc2lvbgAAAAAACUxhc3RXcml0ZQArGAzRigEAAAACAP////+DAIMAAAAFX2lkABAAAAAEMl4MOCdcdESTyVsXYwJU3ANEYXRhABsAAAAETGlua2VkU2hhcGVEYXRhAAUAAAAAAAJOYW1lABkAAABMaW5rZWRTaGFwZXNEYXRhUHJvcGVydHkAEFZlcnNpb24AAQAAAAlMYXN0V3JpdGUARxkM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lCwAAAAAAAAAAAAAgAf///////////////wAAAP////////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JQAGTGlua2VkU2hhcGVQcmVzZW50YXRpb25TZXR0aW5nc0RhdGFfMAQAAAAAAAUAAAAAAAUAAAADAAUAAAAAAAUAAAADAAUAAAAAAAUAAAADAAUAAAAAAP///////wUAAAAAAP///////wMAAwEDAAAAAwD///////8aAAZMaW5rZWRTaGFwZXNEYXRhUHJvcGVydHlfMAQAAAABAAUAAAACAAUAAAAEAAUAAAACAP///////wUAAAACAP///////wQAAQEDAAAABAD///////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1461154363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RFZmX8wbxPtx77gZrLkh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FZmX8wbxPtx77gZrLkhcDRGF0YQAWAAAAAlBlcnNvbmFsSWQAAQAAAAAAAk5hbWUACwAAAFBlcnNvbmFsSWQAEFZlcnNpb24AAAAAAAlMYXN0V3JpdGUA+nI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8823954"/>
  <p:tag name="EMPOWERCHARTSPROPERTIES_A_LENGTH" val="24576"/>
  <p:tag name="RUNTIME_ID" val="bc04ec2e-47a4-4d7d-b932-9cffe95e54e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65qLNaCGVNhh1Ulv7b9C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65qLNaCGVNhh1Ulv7b9CQDRGF0YQAWAAAAAlBlcnNvbmFsSWQAAQAAAAAAAk5hbWUACwAAAFBlcnNvbmFsSWQAEFZlcnNpb24AAAAAAAlMYXN0V3JpdGUAKnM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9272266"/>
  <p:tag name="EMPOWERCHARTSPROPERTIES_A_LENGTH" val="24576"/>
  <p:tag name="RUNTIME_ID" val="102ea1be-7de9-401e-bd80-edae02d4fa9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EUf1sfQYFEnnp/GDJFvC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EUf1sfQYFEnnp/GDJFvCgDRGF0YQAWAAAAAlBlcnNvbmFsSWQAAQAAAAAAAk5hbWUACwAAAFBlcnNvbmFsSWQAEFZlcnNpb24AAAAAAAlMYXN0V3JpdGUAYnM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9839224"/>
  <p:tag name="EMPOWERCHARTSPROPERTIES_A_LENGTH" val="24576"/>
  <p:tag name="RUNTIME_ID" val="56352ae6-6c41-46eb-80f8-a712c32d409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9FIbDPYN+xMlkux+qHJl1k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FIbDPYN+xMlkux+qHJl1kDRGF0YQAWAAAAAlBlcnNvbmFsSWQAAQAAAAAAAk5hbWUACwAAAFBlcnNvbmFsSWQAEFZlcnNpb24AAAAAAAlMYXN0V3JpdGUAjHM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0231890"/>
  <p:tag name="EMPOWERCHARTSPROPERTIES_A_LENGTH" val="24576"/>
  <p:tag name="RUNTIME_ID" val="9fbd5816-b821-4b81-9e50-d02e2cb7356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14LusH86tNltm7Bj5ViJ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14LusH86tNltm7Bj5ViJIDRGF0YQAWAAAAAlBlcnNvbmFsSWQAAQAAAAAAAk5hbWUACwAAAFBlcnNvbmFsSWQAEFZlcnNpb24AAAAAAAlMYXN0V3JpdGUAunM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0651698"/>
  <p:tag name="EMPOWERCHARTSPROPERTIES_A_LENGTH" val="24576"/>
  <p:tag name="RUNTIME_ID" val="f5462519-0381-4634-bf20-58de4df629f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VWA4GNLB9Jm4CMg+ZK4x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VWA4GNLB9Jm4CMg+ZK4xYDRGF0YQAWAAAAAlBlcnNvbmFsSWQAAQAAAAAAAk5hbWUACwAAAFBlcnNvbmFsSWQAEFZlcnNpb24AAAAAAAlMYXN0V3JpdGUA4XM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1100066"/>
  <p:tag name="EMPOWERCHARTSPROPERTIES_A_LENGTH" val="24576"/>
  <p:tag name="RUNTIME_ID" val="1ae1a01a-4feb-4a23-8dea-83189fdd438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b+eV9UeJJOqAY8HGhuxB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b+eV9UeJJOqAY8HGhuxBkDRGF0YQAWAAAAAlBlcnNvbmFsSWQAAQAAAAAAAk5hbWUACwAAAFBlcnNvbmFsSWQAEFZlcnNpb24AAAAAAAlMYXN0V3JpdGUAD3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1524220"/>
  <p:tag name="EMPOWERCHARTSPROPERTIES_A_LENGTH" val="24576"/>
  <p:tag name="RUNTIME_ID" val="35657b41-a7d6-4140-bce4-9a11c52ccb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TubF8KpS9Gv36Ng7J6eX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TubF8KpS9Gv36Ng7J6eXIDRGF0YQAWAAAAAlBlcnNvbmFsSWQAAQAAAAAAAk5hbWUACwAAAFBlcnNvbmFsSWQAEFZlcnNpb24AAAAAAAlMYXN0V3JpdGUARX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2081302"/>
  <p:tag name="EMPOWERCHARTSPROPERTIES_A_LENGTH" val="24576"/>
  <p:tag name="RUNTIME_ID" val="bd32936d-da5f-47fc-ba58-6b429a2f409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wlJUiMhcVHvieozxGB6z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wlJUiMhcVHvieozxGB6zwDRGF0YQAWAAAAAlBlcnNvbmFsSWQAAQAAAAAAAk5hbWUACwAAAFBlcnNvbmFsSWQAEFZlcnNpb24AAAAAAAlMYXN0V3JpdGUAd3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2576648"/>
  <p:tag name="EMPOWERCHARTSPROPERTIES_A_LENGTH" val="24576"/>
  <p:tag name="RUNTIME_ID" val="46af7a1b-bed3-4bbc-b5d8-1cad0bd96ee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ULqdiRlAhBhOpwi7rkR0M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ULqdiRlAhBhOpwi7rkR0MDRGF0YQAWAAAAAlBlcnNvbmFsSWQAAQAAAAAAAk5hbWUACwAAAFBlcnNvbmFsSWQAEFZlcnNpb24AAAAAAAlMYXN0V3JpdGUApH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2966433"/>
  <p:tag name="EMPOWERCHARTSPROPERTIES_A_LENGTH" val="24576"/>
  <p:tag name="RUNTIME_ID" val="fb0630bf-ba21-4c76-9ca0-4ea81fc914c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ukZx0I+9tGjjPSN7SgRl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ukZx0I+9tGjjPSN7SgRloDRGF0YQAWAAAAAlBlcnNvbmFsSWQAAQAAAAAAAk5hbWUACwAAAFBlcnNvbmFsSWQAEFZlcnNpb24AAAAAAAlMYXN0V3JpdGUAgBsY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9327579877"/>
  <p:tag name="EMPOWERCHARTSPROPERTIES_A_LENGTH" val="24576"/>
  <p:tag name="RUNTIME_ID" val="503bf7ba-bb85-4ad5-aac8-91342794a15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YepvL8LwNDp07/zjtVIo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YepvL8LwNDp07/zjtVIo8DRGF0YQAWAAAAAlBlcnNvbmFsSWQAAQAAAAAAAk5hbWUACwAAAFBlcnNvbmFsSWQAEFZlcnNpb24AAAAAAAlMYXN0V3JpdGUAzH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3379297"/>
  <p:tag name="EMPOWERCHARTSPROPERTIES_A_LENGTH" val="24576"/>
  <p:tag name="RUNTIME_ID" val="ccc8abaf-398b-4a6e-8905-e3b7af19e4b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DISoKR6SJCgzvh2/tiI5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DISoKR6SJCgzvh2/tiI5oDRGF0YQAWAAAAAlBlcnNvbmFsSWQAAQAAAAAAAk5hbWUACwAAAFBlcnNvbmFsSWQAEFZlcnNpb24AAAAAAAlMYXN0V3JpdGUA+nQ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3828857"/>
  <p:tag name="EMPOWERCHARTSPROPERTIES_A_LENGTH" val="24576"/>
  <p:tag name="RUNTIME_ID" val="6679b1ba-ea13-4ab5-a50d-1940a4c7057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8KSP6hGzVEhSSm8cTSdE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8KSP6hGzVEhSSm8cTSdEcDRGF0YQAWAAAAAlBlcnNvbmFsSWQAAQAAAAAAAk5hbWUACwAAAFBlcnNvbmFsSWQAEFZlcnNpb24AAAAAAAlMYXN0V3JpdGUAOXU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24473767"/>
  <p:tag name="EMPOWERCHARTSPROPERTIES_A_LENGTH" val="24576"/>
  <p:tag name="RUNTIME_ID" val="976f7c75-437e-4ad1-a8d9-16530d793e2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qcgCoeBmpJkpvb0RZeHR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qcgCoeBmpJkpvb0RZeHR8DRGF0YQAWAAAAAlBlcnNvbmFsSWQAAQAAAAAAAk5hbWUACwAAAFBlcnNvbmFsSWQAEFZlcnNpb24AAAAAAAlMYXN0V3JpdGUAwNIg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25039171893"/>
  <p:tag name="EMPOWERCHARTSPROPERTIES_A_LENGTH" val="24576"/>
  <p:tag name="RUNTIME_ID" val="fb82e9e9-c755-4983-af42-c91b07993e4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zlv/vkqaVOklo78CfYKI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zlv/vkqaVOklo78CfYKIkDRGF0YQAWAAAAAlBlcnNvbmFsSWQAAQAAAAAAAk5hbWUACwAAAFBlcnNvbmFsSWQAEFZlcnNpb24AAAAAAAlMYXN0V3JpdGUAuQch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25174673602"/>
  <p:tag name="EMPOWERCHARTSPROPERTIES_A_LENGTH" val="24576"/>
  <p:tag name="RUNTIME_ID" val="4d87924d-636a-4e24-86c8-2bc23badd9d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OFh+xd4E9OgktaKX3KWRg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OFh+xd4E9OgktaKX3KWRgDRGF0YQAWAAAAAlBlcnNvbmFsSWQAAQAAAAAAAk5hbWUACwAAAFBlcnNvbmFsSWQAEFZlcnNpb24AAAAAAAlMYXN0V3JpdGUATBwY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9329464688"/>
  <p:tag name="EMPOWERCHARTSPROPERTIES_A_LENGTH" val="24576"/>
  <p:tag name="RUNTIME_ID" val="9472c40b-240d-40e8-894c-1edf9c7b55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HMHk11lTFHq7S/Ib0Sie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HMHk11lTFHq7S/Ib0SieYDRGF0YQAWAAAAAlBlcnNvbmFsSWQAAQAAAAAAAk5hbWUACwAAAFBlcnNvbmFsSWQAEFZlcnNpb24AAAAAAAlMYXN0V3JpdGUAqhwY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9330058341"/>
  <p:tag name="EMPOWERCHARTSPROPERTIES_A_LENGTH" val="24576"/>
  <p:tag name="RUNTIME_ID" val="70bfcf18-d578-41c3-b437-6cd7fb6ee4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mokipRcKFPs7mcoelq4r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mokipRcKFPs7mcoelq4rYDRGF0YQAWAAAAAlBlcnNvbmFsSWQAAQAAAAAAAk5hbWUACwAAAFBlcnNvbmFsSWQAEFZlcnNpb24AAAAAAAlMYXN0V3JpdGUA5BwY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9330526375"/>
  <p:tag name="EMPOWERCHARTSPROPERTIES_A_LENGTH" val="24576"/>
  <p:tag name="RUNTIME_ID" val="f35e563a-7e4d-4941-87cc-1ce7b6dc26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fUbVb9mcBKjAazC+Zk1h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fUbVb9mcBKjAazC+Zk1hMDRGF0YQAWAAAAAlBlcnNvbmFsSWQAAQAAAAAAAk5hbWUACwAAAFBlcnNvbmFsSWQAEFZlcnNpb24AAAAAAAlMYXN0V3JpdGUADR0Y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9330878566"/>
  <p:tag name="EMPOWERCHARTSPROPERTIES_A_LENGTH" val="24576"/>
  <p:tag name="RUNTIME_ID" val="560d0c55-eee4-4e1c-a56c-bc5203960d2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s8p43kB2lOqlu99TV5fX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s8p43kB2lOqlu99TV5fX8DRGF0YQAWAAAAAlBlcnNvbmFsSWQAAQAAAAAAAk5hbWUACwAAAFBlcnNvbmFsSWQAEFZlcnNpb24AAAAAAAlMYXN0V3JpdGUAUnE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4618909"/>
  <p:tag name="EMPOWERCHARTSPROPERTIES_A_LENGTH" val="24576"/>
  <p:tag name="RUNTIME_ID" val="84fa53d7-01ea-405e-a25b-73aeeb32af6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jTmvWI1E1Km5LZVUyF8w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jTmvWI1E1Km5LZVUyF8wADRGF0YQAWAAAAAlBlcnNvbmFsSWQAAQAAAAAAAk5hbWUACwAAAFBlcnNvbmFsSWQAEFZlcnNpb24AAAAAAAlMYXN0V3JpdGUAeHI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7479320"/>
  <p:tag name="EMPOWERCHARTSPROPERTIES_A_LENGTH" val="24576"/>
  <p:tag name="RUNTIME_ID" val="57aaf40e-9d0c-49a0-814b-a9e35ec9095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Ts0tiKHfdAkObi3jC63t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Ts0tiKHfdAkObi3jC63tUDRGF0YQAWAAAAAlBlcnNvbmFsSWQAAQAAAAAAAk5hbWUACwAAAFBlcnNvbmFsSWQAEFZlcnNpb24AAAAAAAlMYXN0V3JpdGUAyXIS0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13215618267414"/>
  <p:tag name="EMPOWERCHARTSPROPERTIES_A_LENGTH" val="24576"/>
  <p:tag name="RUNTIME_ID" val="a6d24b7f-c3df-408d-b382-cd1f9f9c804f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Application>Microsoft Office PowerPoint</Application>
  <PresentationFormat>Widescreen</PresentationFormat>
  <Slides>36</Slides>
  <Notes>1</Notes>
  <HiddenSlides>3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7" baseType="lpstr">
      <vt:lpstr>Office Theme</vt:lpstr>
      <vt:lpstr>PowerPoint Presentation</vt:lpstr>
      <vt:lpstr>PowerPoint Presentation</vt:lpstr>
      <vt:lpstr>Intro to BearingPoint</vt:lpstr>
      <vt:lpstr>We have European roots,  with global reach</vt:lpstr>
      <vt:lpstr>DATA  ENGINEERING  &amp; INSIGHT</vt:lpstr>
      <vt:lpstr>DATA  ENGINEERING  &amp; INSIGHT</vt:lpstr>
      <vt:lpstr>Value driven design</vt:lpstr>
      <vt:lpstr>Our approach has the desired business value in focus throughout the initiative …</vt:lpstr>
      <vt:lpstr>ML use case workshop</vt:lpstr>
      <vt:lpstr>Cases</vt:lpstr>
      <vt:lpstr>How to turn your data into value?</vt:lpstr>
      <vt:lpstr>MLOps</vt:lpstr>
      <vt:lpstr>AI and machine learning has a vast potential, and companies needs to shift from  piloting to scaling up and operationalizing in order to stay competitive</vt:lpstr>
      <vt:lpstr>The reality for many is still…</vt:lpstr>
      <vt:lpstr>After a successful start where data driven improvements has provided tangible results,  companies often experience a slow down in speed and an inability to scale initiatives</vt:lpstr>
      <vt:lpstr>MLOps is a way of working and a set of tools that enable scaling advanced analytics by  reducing the time from idea to value created, and maintain this speed over time</vt:lpstr>
      <vt:lpstr>MLOps conceptual reference architecture</vt:lpstr>
      <vt:lpstr>Technical components and processes in an MLOps-system</vt:lpstr>
      <vt:lpstr>Modern data  platforms</vt:lpstr>
      <vt:lpstr>What should a    data platform enable?</vt:lpstr>
      <vt:lpstr>Key principles when building a modern data platform</vt:lpstr>
      <vt:lpstr>Basic components in a modern data platform</vt:lpstr>
      <vt:lpstr>Analytics/Machine learning</vt:lpstr>
      <vt:lpstr>PowerPoint Presentation</vt:lpstr>
      <vt:lpstr>MLOps &amp; Data platform at Plaace</vt:lpstr>
      <vt:lpstr>Plaace: neste generasjon matching platform  for retail property</vt:lpstr>
      <vt:lpstr>Plaace develops automatic area  recommendations with machine learning</vt:lpstr>
      <vt:lpstr>A recommendation is based on several factors</vt:lpstr>
      <vt:lpstr>We use MLOps as our work method</vt:lpstr>
      <vt:lpstr>End to end Azure architecture for IoT ML Ops</vt:lpstr>
      <vt:lpstr>PowerPoint Presentation</vt:lpstr>
      <vt:lpstr>ML system design workshop</vt:lpstr>
      <vt:lpstr>PowerPoint Presentation</vt:lpstr>
      <vt:lpstr>PowerPoint Presentation</vt:lpstr>
      <vt:lpstr>PowerPoint Presentation</vt:lpstr>
      <vt:lpstr>Example architecture (OS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revision>1</cp:revision>
  <dcterms:created xsi:type="dcterms:W3CDTF">2023-09-26T10:30:02Z</dcterms:created>
  <dcterms:modified xsi:type="dcterms:W3CDTF">2023-09-29T09:3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18T00:00:00Z</vt:filetime>
  </property>
  <property fmtid="{D5CDD505-2E9C-101B-9397-08002B2CF9AE}" pid="3" name="LastSaved">
    <vt:filetime>2023-09-26T00:00:00Z</vt:filetime>
  </property>
</Properties>
</file>